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notesSlides/notesSlide1.xml" ContentType="application/vnd.openxmlformats-officedocument.presentationml.notesSlide+xml"/>
  <Override PartName="/ppt/tags/tag49.xml" ContentType="application/vnd.openxmlformats-officedocument.presentationml.tags+xml"/>
  <Override PartName="/ppt/notesSlides/notesSlide2.xml" ContentType="application/vnd.openxmlformats-officedocument.presentationml.notesSlide+xml"/>
  <Override PartName="/ppt/tags/tag50.xml" ContentType="application/vnd.openxmlformats-officedocument.presentationml.tags+xml"/>
  <Override PartName="/ppt/notesSlides/notesSlide3.xml" ContentType="application/vnd.openxmlformats-officedocument.presentationml.notesSlide+xml"/>
  <Override PartName="/ppt/tags/tag51.xml" ContentType="application/vnd.openxmlformats-officedocument.presentationml.tags+xml"/>
  <Override PartName="/ppt/notesSlides/notesSlide4.xml" ContentType="application/vnd.openxmlformats-officedocument.presentationml.notesSlide+xml"/>
  <Override PartName="/ppt/tags/tag52.xml" ContentType="application/vnd.openxmlformats-officedocument.presentationml.tags+xml"/>
  <Override PartName="/ppt/notesSlides/notesSlide5.xml" ContentType="application/vnd.openxmlformats-officedocument.presentationml.notesSlide+xml"/>
  <Override PartName="/ppt/tags/tag53.xml" ContentType="application/vnd.openxmlformats-officedocument.presentationml.tags+xml"/>
  <Override PartName="/ppt/notesSlides/notesSlide6.xml" ContentType="application/vnd.openxmlformats-officedocument.presentationml.notesSlide+xml"/>
  <Override PartName="/ppt/tags/tag54.xml" ContentType="application/vnd.openxmlformats-officedocument.presentationml.tags+xml"/>
  <Override PartName="/ppt/charts/chart21.xml" ContentType="application/vnd.openxmlformats-officedocument.drawingml.chart+xml"/>
  <Override PartName="/ppt/tags/tag55.xml" ContentType="application/vnd.openxmlformats-officedocument.presentationml.tags+xml"/>
  <Override PartName="/ppt/charts/chart22.xml" ContentType="application/vnd.openxmlformats-officedocument.drawingml.chart+xml"/>
  <Override PartName="/ppt/tags/tag56.xml" ContentType="application/vnd.openxmlformats-officedocument.presentationml.tags+xml"/>
  <Override PartName="/ppt/charts/chart23.xml" ContentType="application/vnd.openxmlformats-officedocument.drawingml.chart+xml"/>
  <Override PartName="/ppt/tags/tag57.xml" ContentType="application/vnd.openxmlformats-officedocument.presentationml.tags+xml"/>
  <Override PartName="/ppt/charts/chart24.xml" ContentType="application/vnd.openxmlformats-officedocument.drawingml.chart+xml"/>
  <Override PartName="/ppt/tags/tag58.xml" ContentType="application/vnd.openxmlformats-officedocument.presentationml.tags+xml"/>
  <Override PartName="/ppt/charts/chart25.xml" ContentType="application/vnd.openxmlformats-officedocument.drawingml.chart+xml"/>
  <Override PartName="/ppt/tags/tag59.xml" ContentType="application/vnd.openxmlformats-officedocument.presentationml.tags+xml"/>
  <Override PartName="/ppt/charts/chart26.xml" ContentType="application/vnd.openxmlformats-officedocument.drawingml.chart+xml"/>
  <Override PartName="/ppt/tags/tag60.xml" ContentType="application/vnd.openxmlformats-officedocument.presentationml.tags+xml"/>
  <Override PartName="/ppt/charts/chart27.xml" ContentType="application/vnd.openxmlformats-officedocument.drawingml.chart+xml"/>
  <Override PartName="/ppt/tags/tag61.xml" ContentType="application/vnd.openxmlformats-officedocument.presentationml.tags+xml"/>
  <Override PartName="/ppt/charts/chart28.xml" ContentType="application/vnd.openxmlformats-officedocument.drawingml.chart+xml"/>
  <Override PartName="/ppt/tags/tag62.xml" ContentType="application/vnd.openxmlformats-officedocument.presentationml.tags+xml"/>
  <Override PartName="/ppt/charts/chart29.xml" ContentType="application/vnd.openxmlformats-officedocument.drawingml.chart+xml"/>
  <Override PartName="/ppt/tags/tag63.xml" ContentType="application/vnd.openxmlformats-officedocument.presentationml.tags+xml"/>
  <Override PartName="/ppt/charts/chart30.xml" ContentType="application/vnd.openxmlformats-officedocument.drawingml.chart+xml"/>
  <Override PartName="/ppt/tags/tag64.xml" ContentType="application/vnd.openxmlformats-officedocument.presentationml.tags+xml"/>
  <Override PartName="/ppt/charts/chart31.xml" ContentType="application/vnd.openxmlformats-officedocument.drawingml.chart+xml"/>
  <Override PartName="/ppt/tags/tag65.xml" ContentType="application/vnd.openxmlformats-officedocument.presentationml.tags+xml"/>
  <Override PartName="/ppt/charts/chart32.xml" ContentType="application/vnd.openxmlformats-officedocument.drawingml.chart+xml"/>
  <Override PartName="/ppt/tags/tag66.xml" ContentType="application/vnd.openxmlformats-officedocument.presentationml.tags+xml"/>
  <Override PartName="/ppt/charts/chart33.xml" ContentType="application/vnd.openxmlformats-officedocument.drawingml.chart+xml"/>
  <Override PartName="/ppt/tags/tag67.xml" ContentType="application/vnd.openxmlformats-officedocument.presentationml.tags+xml"/>
  <Override PartName="/ppt/charts/chart34.xml" ContentType="application/vnd.openxmlformats-officedocument.drawingml.chart+xml"/>
  <Override PartName="/ppt/tags/tag68.xml" ContentType="application/vnd.openxmlformats-officedocument.presentationml.tags+xml"/>
  <Override PartName="/ppt/charts/chart35.xml" ContentType="application/vnd.openxmlformats-officedocument.drawingml.chart+xml"/>
  <Override PartName="/ppt/tags/tag69.xml" ContentType="application/vnd.openxmlformats-officedocument.presentationml.tags+xml"/>
  <Override PartName="/ppt/charts/chart36.xml" ContentType="application/vnd.openxmlformats-officedocument.drawingml.chart+xml"/>
  <Override PartName="/ppt/tags/tag70.xml" ContentType="application/vnd.openxmlformats-officedocument.presentationml.tags+xml"/>
  <Override PartName="/ppt/charts/chart37.xml" ContentType="application/vnd.openxmlformats-officedocument.drawingml.chart+xml"/>
  <Override PartName="/ppt/tags/tag71.xml" ContentType="application/vnd.openxmlformats-officedocument.presentationml.tags+xml"/>
  <Override PartName="/ppt/charts/chart38.xml" ContentType="application/vnd.openxmlformats-officedocument.drawingml.chart+xml"/>
  <Override PartName="/ppt/tags/tag72.xml" ContentType="application/vnd.openxmlformats-officedocument.presentationml.tags+xml"/>
  <Override PartName="/ppt/charts/chart39.xml" ContentType="application/vnd.openxmlformats-officedocument.drawingml.chart+xml"/>
  <Override PartName="/ppt/tags/tag73.xml" ContentType="application/vnd.openxmlformats-officedocument.presentationml.tags+xml"/>
  <Override PartName="/ppt/charts/chart40.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51"/>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id="{5D92CCBE-F99B-4431-975B-20EF898F48FE}">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Lst>
        </p14:section>
        <p14:section name="Sectors Share and Growth By Brands" id="{8E0012A5-B6DE-4940-A7FE-75EE71D0CCC3}">
          <p14:sldIdLst>
            <p14:sldId id="2147477385"/>
            <p14:sldId id="2147477386"/>
            <p14:sldId id="2147477387"/>
          </p14:sldIdLst>
        </p14:section>
        <p14:section name="Segments Share and Growth By Brands" id="{D9E8A65D-370D-4B3E-8CE6-0F1519A82F93}">
          <p14:sldIdLst>
            <p14:sldId id="2147477388"/>
            <p14:sldId id="2147477389"/>
            <p14:sldId id="2147477390"/>
          </p14:sldIdLst>
        </p14:section>
        <p14:section name="Price Point Distribution Analysis By Brand" id="{929605E7-9BDA-4D74-98C9-6ABE5BD39E6B}">
          <p14:sldIdLst>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7B8853-335A-4C16-BE1C-1CA4D0F332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923974-73D3-4F45-AD84-E12E79328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9BD041B-2FF0-469B-A081-590FAD8F35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7275D6D-8701-4501-BF54-CEE6D63E9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A90ADB1-8CA3-4FCD-82A2-879C7B72D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C447C43-150E-41E4-8913-CFF55B8261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1EC988F-55B7-40E6-8121-AD9B27D15D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8C248E1-8DEA-4968-8FA2-90B0B8C272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0792999999999999</c:v>
                </c:pt>
                <c:pt idx="1">
                  <c:v>2.3864999999999998</c:v>
                </c:pt>
                <c:pt idx="2">
                  <c:v>2.3683000000000001</c:v>
                </c:pt>
                <c:pt idx="3">
                  <c:v>2.8965999999999998</c:v>
                </c:pt>
                <c:pt idx="4">
                  <c:v>2.754</c:v>
                </c:pt>
                <c:pt idx="5">
                  <c:v>3.2795000000000001</c:v>
                </c:pt>
                <c:pt idx="6">
                  <c:v>2.427</c:v>
                </c:pt>
                <c:pt idx="7">
                  <c:v>2.4902000000000002</c:v>
                </c:pt>
                <c:pt idx="8">
                  <c:v>3.5445000000000002</c:v>
                </c:pt>
              </c:numCache>
            </c:numRef>
          </c:xVal>
          <c:yVal>
            <c:numRef>
              <c:f>Sheet1!$B$2:$B$10</c:f>
              <c:numCache>
                <c:formatCode>General</c:formatCode>
                <c:ptCount val="9"/>
                <c:pt idx="0">
                  <c:v>0.84699999999999998</c:v>
                </c:pt>
                <c:pt idx="1">
                  <c:v>0.82699999999999996</c:v>
                </c:pt>
                <c:pt idx="2">
                  <c:v>1.127</c:v>
                </c:pt>
                <c:pt idx="3">
                  <c:v>1.1100000000000001</c:v>
                </c:pt>
                <c:pt idx="4">
                  <c:v>1.0529999999999999</c:v>
                </c:pt>
                <c:pt idx="5">
                  <c:v>1.1459999999999999</c:v>
                </c:pt>
                <c:pt idx="6">
                  <c:v>1.294</c:v>
                </c:pt>
                <c:pt idx="7">
                  <c:v>0.71</c:v>
                </c:pt>
                <c:pt idx="8">
                  <c:v>1.4690000000000001</c:v>
                </c:pt>
              </c:numCache>
            </c:numRef>
          </c:yVal>
          <c:bubbleSize>
            <c:numRef>
              <c:f>Sheet1!$C$2:$C$10</c:f>
              <c:numCache>
                <c:formatCode>General</c:formatCode>
                <c:ptCount val="9"/>
                <c:pt idx="0">
                  <c:v>623932113</c:v>
                </c:pt>
                <c:pt idx="1">
                  <c:v>74730598</c:v>
                </c:pt>
                <c:pt idx="2">
                  <c:v>60716546</c:v>
                </c:pt>
                <c:pt idx="3">
                  <c:v>54596188</c:v>
                </c:pt>
                <c:pt idx="4">
                  <c:v>49577769</c:v>
                </c:pt>
                <c:pt idx="5">
                  <c:v>47071227</c:v>
                </c:pt>
                <c:pt idx="6">
                  <c:v>41887150</c:v>
                </c:pt>
                <c:pt idx="7">
                  <c:v>38379421</c:v>
                </c:pt>
                <c:pt idx="8">
                  <c:v>3616245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Galbani</c:v>
                  </c:pt>
                  <c:pt idx="3">
                    <c:v>St Moret</c:v>
                  </c:pt>
                  <c:pt idx="4">
                    <c:v>Soignon</c:v>
                  </c:pt>
                  <c:pt idx="5">
                    <c:v>Caprice Des Dieux</c:v>
                  </c:pt>
                  <c:pt idx="6">
                    <c:v>Casa Azzurra</c:v>
                  </c:pt>
                  <c:pt idx="7">
                    <c:v>Coeur De Lion</c:v>
                  </c:pt>
                  <c:pt idx="8">
                    <c:v>Mini Baby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6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198F58-7A3E-4FE5-9A7B-FBB62C7BF3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6216D46-6D2C-4BC4-8810-158CF3C346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E7BBC9-23BA-4ED7-9F3D-854A1D6302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F8C5157-7C56-4FF8-A9DB-4D629BCEDB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FD67716-552B-4A7F-8A6C-39237C8468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0050BA6-D46A-4E06-B80E-931E3CCE0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7695F9B-FD4F-42B3-9E7D-05FE9C28C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475785A-5C0C-4DCB-BA9D-7A99DEFBB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875999999999999</c:v>
                </c:pt>
                <c:pt idx="1">
                  <c:v>2.0409000000000002</c:v>
                </c:pt>
                <c:pt idx="2">
                  <c:v>4.2450000000000001</c:v>
                </c:pt>
                <c:pt idx="3">
                  <c:v>3.7193999999999998</c:v>
                </c:pt>
                <c:pt idx="4">
                  <c:v>2.7090000000000001</c:v>
                </c:pt>
              </c:numCache>
            </c:numRef>
          </c:xVal>
          <c:yVal>
            <c:numRef>
              <c:f>Sheet1!$B$2:$B$6</c:f>
              <c:numCache>
                <c:formatCode>General</c:formatCode>
                <c:ptCount val="5"/>
                <c:pt idx="0">
                  <c:v>0.83799999999999997</c:v>
                </c:pt>
                <c:pt idx="1">
                  <c:v>1.097</c:v>
                </c:pt>
                <c:pt idx="2">
                  <c:v>1.583</c:v>
                </c:pt>
                <c:pt idx="3">
                  <c:v>1.4410000000000001</c:v>
                </c:pt>
                <c:pt idx="4">
                  <c:v>1.4570000000000001</c:v>
                </c:pt>
              </c:numCache>
            </c:numRef>
          </c:yVal>
          <c:bubbleSize>
            <c:numRef>
              <c:f>Sheet1!$C$2:$C$6</c:f>
              <c:numCache>
                <c:formatCode>General</c:formatCode>
                <c:ptCount val="5"/>
                <c:pt idx="0">
                  <c:v>3832147</c:v>
                </c:pt>
                <c:pt idx="1">
                  <c:v>2828625</c:v>
                </c:pt>
                <c:pt idx="2">
                  <c:v>442886</c:v>
                </c:pt>
                <c:pt idx="3">
                  <c:v>266365</c:v>
                </c:pt>
                <c:pt idx="4">
                  <c:v>173582</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Raguin</c:v>
                  </c:pt>
                  <c:pt idx="4">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8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86BFC96-75C0-490F-9EC4-F634E639BF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4E8FB0-96FC-42D5-ADDC-332E86765A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4F33AC-7A3D-4A91-BCCC-A8C93E39AD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D4B91C-FB32-45B3-80A6-A4B5172977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18EAEC4-A44F-43A0-A58B-B1426D0A24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1A1CE6A-D0EB-41FA-A917-235D561A3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6D3DECF-8BA2-4592-97C7-5481B4A365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5BFF3B9-CE2A-4BF7-AAD9-87441CBEE2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875999999999999</c:v>
                </c:pt>
                <c:pt idx="1">
                  <c:v>2.0409000000000002</c:v>
                </c:pt>
                <c:pt idx="2">
                  <c:v>4.2469999999999999</c:v>
                </c:pt>
                <c:pt idx="3">
                  <c:v>3.7195999999999998</c:v>
                </c:pt>
                <c:pt idx="4">
                  <c:v>2.7090000000000001</c:v>
                </c:pt>
              </c:numCache>
            </c:numRef>
          </c:xVal>
          <c:yVal>
            <c:numRef>
              <c:f>Sheet1!$B$2:$B$6</c:f>
              <c:numCache>
                <c:formatCode>General</c:formatCode>
                <c:ptCount val="5"/>
                <c:pt idx="0">
                  <c:v>0.83799999999999997</c:v>
                </c:pt>
                <c:pt idx="1">
                  <c:v>1.0960000000000001</c:v>
                </c:pt>
                <c:pt idx="2">
                  <c:v>1.589</c:v>
                </c:pt>
                <c:pt idx="3">
                  <c:v>1.448</c:v>
                </c:pt>
                <c:pt idx="4">
                  <c:v>1.4570000000000001</c:v>
                </c:pt>
              </c:numCache>
            </c:numRef>
          </c:yVal>
          <c:bubbleSize>
            <c:numRef>
              <c:f>Sheet1!$C$2:$C$6</c:f>
              <c:numCache>
                <c:formatCode>General</c:formatCode>
                <c:ptCount val="5"/>
                <c:pt idx="0">
                  <c:v>3832081</c:v>
                </c:pt>
                <c:pt idx="1">
                  <c:v>2828611</c:v>
                </c:pt>
                <c:pt idx="2">
                  <c:v>442466</c:v>
                </c:pt>
                <c:pt idx="3">
                  <c:v>265726</c:v>
                </c:pt>
                <c:pt idx="4">
                  <c:v>173579</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Raguin</c:v>
                  </c:pt>
                  <c:pt idx="4">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8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94A522-E43C-4F65-853A-067AEF6A56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F87943-6A11-42CA-AB35-9875A3C005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F44D8D-82DC-46DC-9219-A67B8F2994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BD0A958-9908-4687-8013-5F6D9EC56A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00916AD-9477-430B-9D7D-99560675FD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4B05E9-1724-490D-85FC-35EBA7F3B6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E7849E2-6B06-431D-8DB2-AEC97D3E5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BE9D2C8-A7F4-49C9-881A-2FE7A4C069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5445000000000002</c:v>
                </c:pt>
                <c:pt idx="1">
                  <c:v>3.2810999999999999</c:v>
                </c:pt>
                <c:pt idx="2">
                  <c:v>2.9834999999999998</c:v>
                </c:pt>
                <c:pt idx="3">
                  <c:v>2.2189999999999999</c:v>
                </c:pt>
                <c:pt idx="4">
                  <c:v>2.7052999999999998</c:v>
                </c:pt>
                <c:pt idx="5">
                  <c:v>3.2698999999999998</c:v>
                </c:pt>
              </c:numCache>
            </c:numRef>
          </c:xVal>
          <c:yVal>
            <c:numRef>
              <c:f>Sheet1!$B$2:$B$7</c:f>
              <c:numCache>
                <c:formatCode>General</c:formatCode>
                <c:ptCount val="6"/>
                <c:pt idx="0">
                  <c:v>1.419</c:v>
                </c:pt>
                <c:pt idx="1">
                  <c:v>0.873</c:v>
                </c:pt>
                <c:pt idx="2">
                  <c:v>1.0669999999999999</c:v>
                </c:pt>
                <c:pt idx="3">
                  <c:v>0.624</c:v>
                </c:pt>
                <c:pt idx="4">
                  <c:v>1.8620000000000001</c:v>
                </c:pt>
                <c:pt idx="5">
                  <c:v>1.425</c:v>
                </c:pt>
              </c:numCache>
            </c:numRef>
          </c:yVal>
          <c:bubbleSize>
            <c:numRef>
              <c:f>Sheet1!$C$2:$C$7</c:f>
              <c:numCache>
                <c:formatCode>General</c:formatCode>
                <c:ptCount val="6"/>
                <c:pt idx="0">
                  <c:v>36162450</c:v>
                </c:pt>
                <c:pt idx="1">
                  <c:v>35786112</c:v>
                </c:pt>
                <c:pt idx="2">
                  <c:v>28035107</c:v>
                </c:pt>
                <c:pt idx="3">
                  <c:v>22083602</c:v>
                </c:pt>
                <c:pt idx="4">
                  <c:v>11823541</c:v>
                </c:pt>
                <c:pt idx="5">
                  <c:v>2634301</c:v>
                </c:pt>
              </c:numCache>
            </c:numRef>
          </c:bubbleSize>
          <c:bubble3D val="0"/>
          <c:extLst>
            <c:ext xmlns:c15="http://schemas.microsoft.com/office/drawing/2012/chart" uri="{02D57815-91ED-43cb-92C2-25804820EDAC}">
              <c15:datalabelsRange>
                <c15:f>Sheet1!$E$2:$E$10</c15:f>
                <c15:dlblRangeCache>
                  <c:ptCount val="9"/>
                  <c:pt idx="0">
                    <c:v>Mini Babybel</c:v>
                  </c:pt>
                  <c:pt idx="1">
                    <c:v>La Vache Qui Rit</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2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FF17ED9-ED57-4E10-891D-4CBC945C9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820255-C421-4933-8D17-57B99B86E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D53793-4AC1-4652-81D4-A885F48E9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A07C443-1530-4F73-8767-9070AA219A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557348F-5A5F-4DAE-827C-3890F5102F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B2FFEC6-4D4C-450C-96E3-003BD4BCC5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D608AAB-99FD-45D0-AE4C-70634DD4A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05F847A-7DD0-4F44-ADF0-16C5F27639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258</c:v>
                </c:pt>
                <c:pt idx="1">
                  <c:v>3.7176999999999998</c:v>
                </c:pt>
                <c:pt idx="2">
                  <c:v>2.9481000000000002</c:v>
                </c:pt>
                <c:pt idx="3">
                  <c:v>2.2936000000000001</c:v>
                </c:pt>
                <c:pt idx="4">
                  <c:v>2.7347999999999999</c:v>
                </c:pt>
                <c:pt idx="5">
                  <c:v>3.0028000000000001</c:v>
                </c:pt>
              </c:numCache>
            </c:numRef>
          </c:xVal>
          <c:yVal>
            <c:numRef>
              <c:f>Sheet1!$B$2:$B$7</c:f>
              <c:numCache>
                <c:formatCode>General</c:formatCode>
                <c:ptCount val="6"/>
                <c:pt idx="0">
                  <c:v>0.81299999999999994</c:v>
                </c:pt>
                <c:pt idx="1">
                  <c:v>1.339</c:v>
                </c:pt>
                <c:pt idx="2">
                  <c:v>0.98</c:v>
                </c:pt>
                <c:pt idx="3">
                  <c:v>0.67</c:v>
                </c:pt>
                <c:pt idx="4">
                  <c:v>1.853</c:v>
                </c:pt>
                <c:pt idx="5">
                  <c:v>1.5209999999999999</c:v>
                </c:pt>
              </c:numCache>
            </c:numRef>
          </c:yVal>
          <c:bubbleSize>
            <c:numRef>
              <c:f>Sheet1!$C$2:$C$7</c:f>
              <c:numCache>
                <c:formatCode>General</c:formatCode>
                <c:ptCount val="6"/>
                <c:pt idx="0">
                  <c:v>6741110</c:v>
                </c:pt>
                <c:pt idx="1">
                  <c:v>6669457</c:v>
                </c:pt>
                <c:pt idx="2">
                  <c:v>5524817</c:v>
                </c:pt>
                <c:pt idx="3">
                  <c:v>2504979</c:v>
                </c:pt>
                <c:pt idx="4">
                  <c:v>2314948</c:v>
                </c:pt>
                <c:pt idx="5">
                  <c:v>426610</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5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F7226C-01E4-4854-80D5-AEC77398F7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38004FB-0E7E-410F-BFFF-12074D808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17FB19-8632-4B9A-A8E9-189330F4A5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A4FF373-EF74-4236-B4D3-68F361BC7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B5966F-53F8-4C64-A5D6-0372E9C5A0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982F92D-96EE-4619-A4AF-0471D1806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B695EA6-3F1A-4513-866D-5E6A894045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D7D528A-68B1-4501-9285-266ECEB99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4443000000000001</c:v>
                </c:pt>
                <c:pt idx="1">
                  <c:v>3.3622999999999998</c:v>
                </c:pt>
                <c:pt idx="2">
                  <c:v>3.0697000000000001</c:v>
                </c:pt>
                <c:pt idx="3">
                  <c:v>2.0539000000000001</c:v>
                </c:pt>
                <c:pt idx="4">
                  <c:v>2.6819999999999999</c:v>
                </c:pt>
                <c:pt idx="5">
                  <c:v>3.7010999999999998</c:v>
                </c:pt>
              </c:numCache>
            </c:numRef>
          </c:xVal>
          <c:yVal>
            <c:numRef>
              <c:f>Sheet1!$B$2:$B$7</c:f>
              <c:numCache>
                <c:formatCode>General</c:formatCode>
                <c:ptCount val="6"/>
                <c:pt idx="0">
                  <c:v>0.88</c:v>
                </c:pt>
                <c:pt idx="1">
                  <c:v>1.3660000000000001</c:v>
                </c:pt>
                <c:pt idx="2">
                  <c:v>1.0269999999999999</c:v>
                </c:pt>
                <c:pt idx="3">
                  <c:v>0.629</c:v>
                </c:pt>
                <c:pt idx="4">
                  <c:v>1.804</c:v>
                </c:pt>
                <c:pt idx="5">
                  <c:v>1.266</c:v>
                </c:pt>
              </c:numCache>
            </c:numRef>
          </c:yVal>
          <c:bubbleSize>
            <c:numRef>
              <c:f>Sheet1!$C$2:$C$7</c:f>
              <c:numCache>
                <c:formatCode>General</c:formatCode>
                <c:ptCount val="6"/>
                <c:pt idx="0">
                  <c:v>5658598</c:v>
                </c:pt>
                <c:pt idx="1">
                  <c:v>4713246</c:v>
                </c:pt>
                <c:pt idx="2">
                  <c:v>4572915</c:v>
                </c:pt>
                <c:pt idx="3">
                  <c:v>2456999</c:v>
                </c:pt>
                <c:pt idx="4">
                  <c:v>1686737</c:v>
                </c:pt>
                <c:pt idx="5">
                  <c:v>437701</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677BB2-DC44-418C-86B3-EF029FB3D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4CAFA52-6108-4549-B9D3-21601755FB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F559A6-C4E5-4B83-99C2-E7230B930C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229FB4-0B2F-41FE-A895-758AD791DD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EA08A98-4A71-438E-BAE9-604D65CEC3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2664B3A-A96A-42B2-BD54-71A3DF86B3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E4D1B16-8E0F-45A9-BB74-25ADEDBE1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33BB47C-1E62-486F-84C6-F09BFF193F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119999999999999</c:v>
                </c:pt>
                <c:pt idx="1">
                  <c:v>1.4815</c:v>
                </c:pt>
                <c:pt idx="2">
                  <c:v>2.4422000000000001</c:v>
                </c:pt>
                <c:pt idx="3">
                  <c:v>2.2902</c:v>
                </c:pt>
                <c:pt idx="4">
                  <c:v>2.4300000000000002</c:v>
                </c:pt>
                <c:pt idx="5">
                  <c:v>2.4110999999999998</c:v>
                </c:pt>
                <c:pt idx="6">
                  <c:v>2.6006</c:v>
                </c:pt>
                <c:pt idx="7">
                  <c:v>1.6876</c:v>
                </c:pt>
              </c:numCache>
            </c:numRef>
          </c:xVal>
          <c:yVal>
            <c:numRef>
              <c:f>Sheet1!$B$2:$B$9</c:f>
              <c:numCache>
                <c:formatCode>General</c:formatCode>
                <c:ptCount val="8"/>
                <c:pt idx="0">
                  <c:v>1.1379999999999999</c:v>
                </c:pt>
                <c:pt idx="1">
                  <c:v>0.68100000000000005</c:v>
                </c:pt>
                <c:pt idx="2">
                  <c:v>1.024</c:v>
                </c:pt>
                <c:pt idx="3">
                  <c:v>1.1160000000000001</c:v>
                </c:pt>
                <c:pt idx="4">
                  <c:v>1.3640000000000001</c:v>
                </c:pt>
                <c:pt idx="5">
                  <c:v>1.085</c:v>
                </c:pt>
                <c:pt idx="6">
                  <c:v>1.0740000000000001</c:v>
                </c:pt>
                <c:pt idx="7">
                  <c:v>1.1719999999999999</c:v>
                </c:pt>
              </c:numCache>
            </c:numRef>
          </c:yVal>
          <c:bubbleSize>
            <c:numRef>
              <c:f>Sheet1!$C$2:$C$9</c:f>
              <c:numCache>
                <c:formatCode>General</c:formatCode>
                <c:ptCount val="8"/>
                <c:pt idx="0">
                  <c:v>51751764</c:v>
                </c:pt>
                <c:pt idx="1">
                  <c:v>33615603</c:v>
                </c:pt>
                <c:pt idx="2">
                  <c:v>26453904</c:v>
                </c:pt>
                <c:pt idx="3">
                  <c:v>18616048</c:v>
                </c:pt>
                <c:pt idx="4">
                  <c:v>16298170</c:v>
                </c:pt>
                <c:pt idx="5">
                  <c:v>11587098</c:v>
                </c:pt>
                <c:pt idx="6">
                  <c:v>7736534</c:v>
                </c:pt>
                <c:pt idx="7">
                  <c:v>2769440</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Philadelphia</c:v>
                  </c:pt>
                  <c:pt idx="7">
                    <c:v>Ronde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4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42B575-5567-4E53-BFA1-8BC5BDD8F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B744EE7-7171-4184-B4C5-F64000F67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918C634-5D12-41B2-8283-83548EB136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F321F76-182C-4306-908D-182F695A8C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7BBCBFF-DA1B-42AA-98F5-4108386A8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95A4261-B764-4AF2-AA5E-F03297D3BF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143FB75-563C-4B24-B3E5-CB5796E05B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DCEC078-EB3E-4B6C-9B4B-D0501C5642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3.0028999999999999</c:v>
                </c:pt>
                <c:pt idx="1">
                  <c:v>2.4232</c:v>
                </c:pt>
                <c:pt idx="2">
                  <c:v>1.6344000000000001</c:v>
                </c:pt>
                <c:pt idx="3">
                  <c:v>2.3706</c:v>
                </c:pt>
                <c:pt idx="4">
                  <c:v>2.4558</c:v>
                </c:pt>
                <c:pt idx="5">
                  <c:v>2.4186999999999999</c:v>
                </c:pt>
                <c:pt idx="6">
                  <c:v>2.6836000000000002</c:v>
                </c:pt>
                <c:pt idx="7">
                  <c:v>1.7345999999999999</c:v>
                </c:pt>
                <c:pt idx="8">
                  <c:v>2.6312000000000002</c:v>
                </c:pt>
              </c:numCache>
            </c:numRef>
          </c:xVal>
          <c:yVal>
            <c:numRef>
              <c:f>Sheet1!$B$2:$B$10</c:f>
              <c:numCache>
                <c:formatCode>General</c:formatCode>
                <c:ptCount val="9"/>
                <c:pt idx="0">
                  <c:v>1.1180000000000001</c:v>
                </c:pt>
                <c:pt idx="1">
                  <c:v>0.95799999999999996</c:v>
                </c:pt>
                <c:pt idx="2">
                  <c:v>0.69299999999999995</c:v>
                </c:pt>
                <c:pt idx="3">
                  <c:v>1.0740000000000001</c:v>
                </c:pt>
                <c:pt idx="4">
                  <c:v>1.3029999999999999</c:v>
                </c:pt>
                <c:pt idx="5">
                  <c:v>1.006</c:v>
                </c:pt>
                <c:pt idx="6">
                  <c:v>1.0009999999999999</c:v>
                </c:pt>
                <c:pt idx="7">
                  <c:v>1.1559999999999999</c:v>
                </c:pt>
                <c:pt idx="8">
                  <c:v>1.4079999999999999</c:v>
                </c:pt>
              </c:numCache>
            </c:numRef>
          </c:yVal>
          <c:bubbleSize>
            <c:numRef>
              <c:f>Sheet1!$C$2:$C$10</c:f>
              <c:numCache>
                <c:formatCode>General</c:formatCode>
                <c:ptCount val="9"/>
                <c:pt idx="0">
                  <c:v>8811592</c:v>
                </c:pt>
                <c:pt idx="1">
                  <c:v>4758479</c:v>
                </c:pt>
                <c:pt idx="2">
                  <c:v>3845963</c:v>
                </c:pt>
                <c:pt idx="3">
                  <c:v>3148857</c:v>
                </c:pt>
                <c:pt idx="4">
                  <c:v>3035900</c:v>
                </c:pt>
                <c:pt idx="5">
                  <c:v>2202030</c:v>
                </c:pt>
                <c:pt idx="6">
                  <c:v>2100704</c:v>
                </c:pt>
                <c:pt idx="7">
                  <c:v>434592</c:v>
                </c:pt>
                <c:pt idx="8">
                  <c:v>306866</c:v>
                </c:pt>
              </c:numCache>
            </c:numRef>
          </c:bubbleSize>
          <c:bubble3D val="0"/>
          <c:extLst>
            <c:ext xmlns:c15="http://schemas.microsoft.com/office/drawing/2012/chart" uri="{02D57815-91ED-43cb-92C2-25804820EDAC}">
              <c15:datalabelsRange>
                <c15:f>Sheet1!$E$2:$E$10</c15:f>
                <c15:dlblRangeCache>
                  <c:ptCount val="9"/>
                  <c:pt idx="0">
                    <c:v>St Moret</c:v>
                  </c:pt>
                  <c:pt idx="1">
                    <c:v>Paysan Breton</c:v>
                  </c:pt>
                  <c:pt idx="2">
                    <c:v>Private Label</c:v>
                  </c:pt>
                  <c:pt idx="3">
                    <c:v>Tartare</c:v>
                  </c:pt>
                  <c:pt idx="4">
                    <c:v>Boursin</c:v>
                  </c:pt>
                  <c:pt idx="5">
                    <c:v>Carre Frais</c:v>
                  </c:pt>
                  <c:pt idx="6">
                    <c:v>Philadelphia</c:v>
                  </c:pt>
                  <c:pt idx="7">
                    <c:v>Rondele</c:v>
                  </c:pt>
                  <c:pt idx="8">
                    <c:v>Ki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DA8FAD-745D-49AA-AB9C-B8822E420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A3A02A3-3278-446A-B145-250EA099E5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0BB38E8-A527-4B83-8FBF-78CF1182CB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68F3D0-E6A1-4407-B9C7-75BA22BF7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A96E122-F0DA-4C1F-B127-5F16B18FB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0DF4191-47CF-40B6-8D7B-148991B854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A33F9A2-4781-480A-A32B-E68DEA603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C9D8EAF-F405-4ADF-98DA-7337CE95B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9885999999999999</c:v>
                </c:pt>
                <c:pt idx="1">
                  <c:v>1.3731</c:v>
                </c:pt>
                <c:pt idx="2">
                  <c:v>2.4413999999999998</c:v>
                </c:pt>
                <c:pt idx="3">
                  <c:v>2.536</c:v>
                </c:pt>
                <c:pt idx="4">
                  <c:v>2.3258999999999999</c:v>
                </c:pt>
                <c:pt idx="5">
                  <c:v>2.4405000000000001</c:v>
                </c:pt>
                <c:pt idx="6">
                  <c:v>2.4830000000000001</c:v>
                </c:pt>
              </c:numCache>
            </c:numRef>
          </c:xVal>
          <c:yVal>
            <c:numRef>
              <c:f>Sheet1!$B$2:$B$8</c:f>
              <c:numCache>
                <c:formatCode>General</c:formatCode>
                <c:ptCount val="7"/>
                <c:pt idx="0">
                  <c:v>1.0760000000000001</c:v>
                </c:pt>
                <c:pt idx="1">
                  <c:v>0.67600000000000005</c:v>
                </c:pt>
                <c:pt idx="2">
                  <c:v>0.96299999999999997</c:v>
                </c:pt>
                <c:pt idx="3">
                  <c:v>1.32</c:v>
                </c:pt>
                <c:pt idx="4">
                  <c:v>1.081</c:v>
                </c:pt>
                <c:pt idx="5">
                  <c:v>1.038</c:v>
                </c:pt>
                <c:pt idx="6">
                  <c:v>0.98599999999999999</c:v>
                </c:pt>
              </c:numCache>
            </c:numRef>
          </c:yVal>
          <c:bubbleSize>
            <c:numRef>
              <c:f>Sheet1!$C$2:$C$8</c:f>
              <c:numCache>
                <c:formatCode>General</c:formatCode>
                <c:ptCount val="7"/>
                <c:pt idx="0">
                  <c:v>8620814</c:v>
                </c:pt>
                <c:pt idx="1">
                  <c:v>3677885</c:v>
                </c:pt>
                <c:pt idx="2">
                  <c:v>3671057</c:v>
                </c:pt>
                <c:pt idx="3">
                  <c:v>3468819</c:v>
                </c:pt>
                <c:pt idx="4">
                  <c:v>2960143</c:v>
                </c:pt>
                <c:pt idx="5">
                  <c:v>1853432</c:v>
                </c:pt>
                <c:pt idx="6">
                  <c:v>911380</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Boursin</c:v>
                  </c:pt>
                  <c:pt idx="4">
                    <c:v>Tartare</c:v>
                  </c:pt>
                  <c:pt idx="5">
                    <c:v>Carre Frais</c:v>
                  </c:pt>
                  <c:pt idx="6">
                    <c:v>Philadelph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0F270E-CFA7-4215-9471-288525B2DE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80605D9-4723-41B2-BAB6-0B454C805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29B602B-E6C6-4704-A1DA-ECEC3C83A6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291038-823F-4BAB-B577-B2F27644E6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8AEA730-938D-487B-A5D1-FDE42BE41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8D91402-438F-4905-AF29-CEBA8BC19A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360A4BF-946B-4688-9B9E-362E07BD71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72EBBBE-9EDF-4502-93B8-545F2FBC5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581999999999999</c:v>
                </c:pt>
                <c:pt idx="1">
                  <c:v>2.3494999999999999</c:v>
                </c:pt>
                <c:pt idx="2">
                  <c:v>2.4449999999999998</c:v>
                </c:pt>
                <c:pt idx="3">
                  <c:v>2.9683000000000002</c:v>
                </c:pt>
                <c:pt idx="4">
                  <c:v>2.7303999999999999</c:v>
                </c:pt>
                <c:pt idx="5">
                  <c:v>2.2523</c:v>
                </c:pt>
              </c:numCache>
            </c:numRef>
          </c:xVal>
          <c:yVal>
            <c:numRef>
              <c:f>Sheet1!$B$2:$B$7</c:f>
              <c:numCache>
                <c:formatCode>General</c:formatCode>
                <c:ptCount val="6"/>
                <c:pt idx="0">
                  <c:v>0.89400000000000002</c:v>
                </c:pt>
                <c:pt idx="1">
                  <c:v>1.032</c:v>
                </c:pt>
                <c:pt idx="2">
                  <c:v>1.175</c:v>
                </c:pt>
                <c:pt idx="3">
                  <c:v>1.0409999999999999</c:v>
                </c:pt>
                <c:pt idx="4">
                  <c:v>1.4279999999999999</c:v>
                </c:pt>
                <c:pt idx="5">
                  <c:v>1.4730000000000001</c:v>
                </c:pt>
              </c:numCache>
            </c:numRef>
          </c:yVal>
          <c:bubbleSize>
            <c:numRef>
              <c:f>Sheet1!$C$2:$C$7</c:f>
              <c:numCache>
                <c:formatCode>General</c:formatCode>
                <c:ptCount val="6"/>
                <c:pt idx="0">
                  <c:v>254514232</c:v>
                </c:pt>
                <c:pt idx="1">
                  <c:v>58401643</c:v>
                </c:pt>
                <c:pt idx="2">
                  <c:v>40044170</c:v>
                </c:pt>
                <c:pt idx="3">
                  <c:v>31611113</c:v>
                </c:pt>
                <c:pt idx="4">
                  <c:v>9755821</c:v>
                </c:pt>
                <c:pt idx="5">
                  <c:v>471812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7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F2554B-90A0-4F2F-9D79-4DAC45E83A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751288-233D-4565-8729-48BDD9E9D3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56D8EF0-8A83-46EA-8AD4-895DD43B84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E3A547F-2602-4DD5-B50A-4D7C0E216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946A99-E227-4329-BFD4-3F89E10F18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5F0259F-3FCE-4B77-B5C4-87337AA77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BEEFC9E-5E25-49E3-94B8-FCE86AA345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96B560A-0F06-403C-874B-4E94B5F779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492</c:v>
                </c:pt>
                <c:pt idx="1">
                  <c:v>2.3096999999999999</c:v>
                </c:pt>
                <c:pt idx="2">
                  <c:v>2.6053999999999999</c:v>
                </c:pt>
                <c:pt idx="3">
                  <c:v>3.0032999999999999</c:v>
                </c:pt>
                <c:pt idx="4">
                  <c:v>2.6737000000000002</c:v>
                </c:pt>
                <c:pt idx="5">
                  <c:v>2.1617000000000002</c:v>
                </c:pt>
              </c:numCache>
            </c:numRef>
          </c:xVal>
          <c:yVal>
            <c:numRef>
              <c:f>Sheet1!$B$2:$B$7</c:f>
              <c:numCache>
                <c:formatCode>General</c:formatCode>
                <c:ptCount val="6"/>
                <c:pt idx="0">
                  <c:v>0.89800000000000002</c:v>
                </c:pt>
                <c:pt idx="1">
                  <c:v>0.96599999999999997</c:v>
                </c:pt>
                <c:pt idx="2">
                  <c:v>1.1839999999999999</c:v>
                </c:pt>
                <c:pt idx="3">
                  <c:v>0.96899999999999997</c:v>
                </c:pt>
                <c:pt idx="4">
                  <c:v>1.29</c:v>
                </c:pt>
                <c:pt idx="5">
                  <c:v>1.304</c:v>
                </c:pt>
              </c:numCache>
            </c:numRef>
          </c:yVal>
          <c:bubbleSize>
            <c:numRef>
              <c:f>Sheet1!$C$2:$C$7</c:f>
              <c:numCache>
                <c:formatCode>General</c:formatCode>
                <c:ptCount val="6"/>
                <c:pt idx="0">
                  <c:v>41826347</c:v>
                </c:pt>
                <c:pt idx="1">
                  <c:v>8667322</c:v>
                </c:pt>
                <c:pt idx="2">
                  <c:v>7504143</c:v>
                </c:pt>
                <c:pt idx="3">
                  <c:v>5982438</c:v>
                </c:pt>
                <c:pt idx="4">
                  <c:v>1935509</c:v>
                </c:pt>
                <c:pt idx="5">
                  <c:v>1289340</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03482A-F077-4428-8BD4-EA51FB4AE3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6C508C-8057-43FB-A604-E60BCE2174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F6F90A8-3D5E-48FC-9EB1-B838FA1256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F95D17-8A5C-4D3E-8461-5305016BBB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22784B0-16E1-4ECF-B968-C1671ABEEC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1E447DC-9E1A-4B7B-84C8-DF88CC00D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77100A-E357-4C7A-8153-DCAB21938F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F71CA8C-4761-4A01-8FD0-9EC32ED4E6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1996000000000002</c:v>
                </c:pt>
                <c:pt idx="1">
                  <c:v>2.4110999999999998</c:v>
                </c:pt>
                <c:pt idx="2">
                  <c:v>2.9895</c:v>
                </c:pt>
                <c:pt idx="3">
                  <c:v>2.3096999999999999</c:v>
                </c:pt>
                <c:pt idx="4">
                  <c:v>2.8786</c:v>
                </c:pt>
                <c:pt idx="5">
                  <c:v>3.3563000000000001</c:v>
                </c:pt>
                <c:pt idx="6">
                  <c:v>2.6053999999999999</c:v>
                </c:pt>
                <c:pt idx="7">
                  <c:v>2.4415</c:v>
                </c:pt>
                <c:pt idx="8">
                  <c:v>3.2258</c:v>
                </c:pt>
              </c:numCache>
            </c:numRef>
          </c:xVal>
          <c:yVal>
            <c:numRef>
              <c:f>Sheet1!$B$2:$B$10</c:f>
              <c:numCache>
                <c:formatCode>General</c:formatCode>
                <c:ptCount val="9"/>
                <c:pt idx="0">
                  <c:v>0.86899999999999999</c:v>
                </c:pt>
                <c:pt idx="1">
                  <c:v>0.747</c:v>
                </c:pt>
                <c:pt idx="2">
                  <c:v>1.079</c:v>
                </c:pt>
                <c:pt idx="3">
                  <c:v>1.0529999999999999</c:v>
                </c:pt>
                <c:pt idx="4">
                  <c:v>1.0029999999999999</c:v>
                </c:pt>
                <c:pt idx="5">
                  <c:v>1.1200000000000001</c:v>
                </c:pt>
                <c:pt idx="6">
                  <c:v>1.29</c:v>
                </c:pt>
                <c:pt idx="7">
                  <c:v>0.65600000000000003</c:v>
                </c:pt>
                <c:pt idx="8">
                  <c:v>0.80500000000000005</c:v>
                </c:pt>
              </c:numCache>
            </c:numRef>
          </c:yVal>
          <c:bubbleSize>
            <c:numRef>
              <c:f>Sheet1!$C$2:$C$10</c:f>
              <c:numCache>
                <c:formatCode>General</c:formatCode>
                <c:ptCount val="9"/>
                <c:pt idx="0">
                  <c:v>78402914</c:v>
                </c:pt>
                <c:pt idx="1">
                  <c:v>9302551</c:v>
                </c:pt>
                <c:pt idx="2">
                  <c:v>9161063</c:v>
                </c:pt>
                <c:pt idx="3">
                  <c:v>8667367</c:v>
                </c:pt>
                <c:pt idx="4">
                  <c:v>8594536</c:v>
                </c:pt>
                <c:pt idx="5">
                  <c:v>8328333</c:v>
                </c:pt>
                <c:pt idx="6">
                  <c:v>7504143</c:v>
                </c:pt>
                <c:pt idx="7">
                  <c:v>6782881</c:v>
                </c:pt>
                <c:pt idx="8">
                  <c:v>6741136</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t Moret</c:v>
                  </c:pt>
                  <c:pt idx="3">
                    <c:v>Galbani</c:v>
                  </c:pt>
                  <c:pt idx="4">
                    <c:v>Soignon</c:v>
                  </c:pt>
                  <c:pt idx="5">
                    <c:v>Caprice Des Dieux</c:v>
                  </c:pt>
                  <c:pt idx="6">
                    <c:v>Casa Azzurra</c:v>
                  </c:pt>
                  <c:pt idx="7">
                    <c:v>Coeur De Lion</c:v>
                  </c:pt>
                  <c:pt idx="8">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8041566-1057-4CB1-B683-5AD613E24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EBA253E-7DCC-4F96-877A-8BB8F4720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E7820F-6CBE-4815-B7A7-30649E86AF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4ACDBD-7770-4650-8ED6-D7C1443536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8784216-3CE0-41C7-AEF6-8B437BE392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BD734AE-8438-4DBA-ACB4-BC41A6CD28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3496273-2D56-47CE-A2A2-3F1AA6542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A89110C-C9B2-4DD7-ACE0-AD24923DE6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205000000000001</c:v>
                </c:pt>
                <c:pt idx="1">
                  <c:v>2.4689000000000001</c:v>
                </c:pt>
                <c:pt idx="2">
                  <c:v>2.9990000000000001</c:v>
                </c:pt>
                <c:pt idx="3">
                  <c:v>2.4729000000000001</c:v>
                </c:pt>
                <c:pt idx="4">
                  <c:v>2.9125000000000001</c:v>
                </c:pt>
                <c:pt idx="5">
                  <c:v>2.4173</c:v>
                </c:pt>
              </c:numCache>
            </c:numRef>
          </c:xVal>
          <c:yVal>
            <c:numRef>
              <c:f>Sheet1!$B$2:$B$7</c:f>
              <c:numCache>
                <c:formatCode>General</c:formatCode>
                <c:ptCount val="6"/>
                <c:pt idx="0">
                  <c:v>0.874</c:v>
                </c:pt>
                <c:pt idx="1">
                  <c:v>1.089</c:v>
                </c:pt>
                <c:pt idx="2">
                  <c:v>1.056</c:v>
                </c:pt>
                <c:pt idx="3">
                  <c:v>1.2390000000000001</c:v>
                </c:pt>
                <c:pt idx="4">
                  <c:v>1.5640000000000001</c:v>
                </c:pt>
                <c:pt idx="5">
                  <c:v>1.6259999999999999</c:v>
                </c:pt>
              </c:numCache>
            </c:numRef>
          </c:yVal>
          <c:bubbleSize>
            <c:numRef>
              <c:f>Sheet1!$C$2:$C$7</c:f>
              <c:numCache>
                <c:formatCode>General</c:formatCode>
                <c:ptCount val="6"/>
                <c:pt idx="0">
                  <c:v>28870053</c:v>
                </c:pt>
                <c:pt idx="1">
                  <c:v>11602323</c:v>
                </c:pt>
                <c:pt idx="2">
                  <c:v>5268160</c:v>
                </c:pt>
                <c:pt idx="3">
                  <c:v>3859441</c:v>
                </c:pt>
                <c:pt idx="4">
                  <c:v>1520505</c:v>
                </c:pt>
                <c:pt idx="5">
                  <c:v>772136</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Salakis</c:v>
                  </c:pt>
                  <c:pt idx="3">
                    <c:v>Casa Azzurra</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25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All Others</c:v>
                </c:pt>
                <c:pt idx="2">
                  <c:v>President</c:v>
                </c:pt>
                <c:pt idx="3">
                  <c:v>Galbani</c:v>
                </c:pt>
                <c:pt idx="4">
                  <c:v>Soignon</c:v>
                </c:pt>
                <c:pt idx="5">
                  <c:v>Caprice Des Dieux</c:v>
                </c:pt>
                <c:pt idx="6">
                  <c:v>Casa Azzurra</c:v>
                </c:pt>
                <c:pt idx="7">
                  <c:v>Coeur De Lion</c:v>
                </c:pt>
              </c:strCache>
            </c:strRef>
          </c:cat>
          <c:val>
            <c:numRef>
              <c:f>Sheet1!$B$2:$B$9</c:f>
              <c:numCache>
                <c:formatCode>General</c:formatCode>
                <c:ptCount val="8"/>
                <c:pt idx="0">
                  <c:v>1.3587</c:v>
                </c:pt>
                <c:pt idx="3">
                  <c:v>1.6195999999999999</c:v>
                </c:pt>
                <c:pt idx="6">
                  <c:v>1.8734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Galbani</c:v>
                </c:pt>
                <c:pt idx="4">
                  <c:v>Soignon</c:v>
                </c:pt>
                <c:pt idx="5">
                  <c:v>Caprice Des Dieux</c:v>
                </c:pt>
                <c:pt idx="6">
                  <c:v>Casa Azzurra</c:v>
                </c:pt>
                <c:pt idx="7">
                  <c:v>Coeur De Lion</c:v>
                </c:pt>
              </c:strCache>
            </c:strRef>
          </c:cat>
          <c:val>
            <c:numRef>
              <c:f>Sheet1!$C$2:$C$9</c:f>
              <c:numCache>
                <c:formatCode>General</c:formatCode>
                <c:ptCount val="8"/>
                <c:pt idx="0">
                  <c:v>1.8246</c:v>
                </c:pt>
                <c:pt idx="3">
                  <c:v>3.0133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Galbani</c:v>
                </c:pt>
                <c:pt idx="4">
                  <c:v>Soignon</c:v>
                </c:pt>
                <c:pt idx="5">
                  <c:v>Caprice Des Dieux</c:v>
                </c:pt>
                <c:pt idx="6">
                  <c:v>Casa Azzurra</c:v>
                </c:pt>
                <c:pt idx="7">
                  <c:v>Coeur De Lion</c:v>
                </c:pt>
              </c:strCache>
            </c:strRef>
          </c:cat>
          <c:val>
            <c:numRef>
              <c:f>Sheet1!$D$2:$D$9</c:f>
              <c:numCache>
                <c:formatCode>General</c:formatCode>
                <c:ptCount val="8"/>
                <c:pt idx="0">
                  <c:v>2.09189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Galbani</c:v>
                </c:pt>
                <c:pt idx="4">
                  <c:v>Soignon</c:v>
                </c:pt>
                <c:pt idx="5">
                  <c:v>Caprice Des Dieux</c:v>
                </c:pt>
                <c:pt idx="6">
                  <c:v>Casa Azzurra</c:v>
                </c:pt>
                <c:pt idx="7">
                  <c:v>Coeur De Lion</c:v>
                </c:pt>
              </c:strCache>
            </c:strRef>
          </c:cat>
          <c:val>
            <c:numRef>
              <c:f>Sheet1!$E$2:$E$9</c:f>
              <c:numCache>
                <c:formatCode>General</c:formatCode>
                <c:ptCount val="8"/>
                <c:pt idx="0">
                  <c:v>2.3222999999999998</c:v>
                </c:pt>
                <c:pt idx="1">
                  <c:v>3.7252000000000001</c:v>
                </c:pt>
                <c:pt idx="4">
                  <c:v>2.2940999999999998</c:v>
                </c:pt>
                <c:pt idx="5">
                  <c:v>3.14020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Galbani</c:v>
                </c:pt>
                <c:pt idx="4">
                  <c:v>Soignon</c:v>
                </c:pt>
                <c:pt idx="5">
                  <c:v>Caprice Des Dieux</c:v>
                </c:pt>
                <c:pt idx="6">
                  <c:v>Casa Azzurra</c:v>
                </c:pt>
                <c:pt idx="7">
                  <c:v>Coeur De Lion</c:v>
                </c:pt>
              </c:strCache>
            </c:strRef>
          </c:cat>
          <c:val>
            <c:numRef>
              <c:f>Sheet1!$F$2:$F$9</c:f>
              <c:numCache>
                <c:formatCode>General</c:formatCode>
                <c:ptCount val="8"/>
                <c:pt idx="0">
                  <c:v>2.1223000000000001</c:v>
                </c:pt>
                <c:pt idx="1">
                  <c:v>3.3052000000000001</c:v>
                </c:pt>
                <c:pt idx="2">
                  <c:v>2.1023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All Others</c:v>
                </c:pt>
                <c:pt idx="2">
                  <c:v>President</c:v>
                </c:pt>
                <c:pt idx="3">
                  <c:v>Galbani</c:v>
                </c:pt>
                <c:pt idx="4">
                  <c:v>Soignon</c:v>
                </c:pt>
                <c:pt idx="5">
                  <c:v>Caprice Des Dieux</c:v>
                </c:pt>
                <c:pt idx="6">
                  <c:v>Casa Azzurra</c:v>
                </c:pt>
                <c:pt idx="7">
                  <c:v>Coeur De Lion</c:v>
                </c:pt>
              </c:strCache>
            </c:strRef>
          </c:cat>
          <c:val>
            <c:numRef>
              <c:f>Sheet1!$G$2:$G$9</c:f>
              <c:numCache>
                <c:formatCode>General</c:formatCode>
                <c:ptCount val="8"/>
                <c:pt idx="0">
                  <c:v>2.3515999999999999</c:v>
                </c:pt>
                <c:pt idx="5">
                  <c:v>3.50599999999999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All Others</c:v>
                </c:pt>
                <c:pt idx="2">
                  <c:v>President</c:v>
                </c:pt>
                <c:pt idx="3">
                  <c:v>Galbani</c:v>
                </c:pt>
                <c:pt idx="4">
                  <c:v>Soignon</c:v>
                </c:pt>
                <c:pt idx="5">
                  <c:v>Caprice Des Dieux</c:v>
                </c:pt>
                <c:pt idx="6">
                  <c:v>Casa Azzurra</c:v>
                </c:pt>
                <c:pt idx="7">
                  <c:v>Coeur De Lion</c:v>
                </c:pt>
              </c:strCache>
            </c:strRef>
          </c:cat>
          <c:val>
            <c:numRef>
              <c:f>Sheet1!$H$2:$H$9</c:f>
              <c:numCache>
                <c:formatCode>General</c:formatCode>
                <c:ptCount val="8"/>
                <c:pt idx="0">
                  <c:v>2.5318000000000001</c:v>
                </c:pt>
                <c:pt idx="7">
                  <c:v>2.7395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All Others</c:v>
                </c:pt>
                <c:pt idx="2">
                  <c:v>President</c:v>
                </c:pt>
                <c:pt idx="3">
                  <c:v>Galbani</c:v>
                </c:pt>
                <c:pt idx="4">
                  <c:v>Soignon</c:v>
                </c:pt>
                <c:pt idx="5">
                  <c:v>Caprice Des Dieux</c:v>
                </c:pt>
                <c:pt idx="6">
                  <c:v>Casa Azzurra</c:v>
                </c:pt>
                <c:pt idx="7">
                  <c:v>Coeur De Lion</c:v>
                </c:pt>
              </c:strCache>
            </c:strRef>
          </c:cat>
          <c:val>
            <c:numRef>
              <c:f>Sheet1!$I$2:$I$9</c:f>
              <c:numCache>
                <c:formatCode>General</c:formatCode>
                <c:ptCount val="8"/>
                <c:pt idx="0">
                  <c:v>3.001799999999999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All Others</c:v>
                </c:pt>
                <c:pt idx="2">
                  <c:v>President</c:v>
                </c:pt>
                <c:pt idx="3">
                  <c:v>Galbani</c:v>
                </c:pt>
                <c:pt idx="4">
                  <c:v>Soignon</c:v>
                </c:pt>
                <c:pt idx="5">
                  <c:v>Caprice Des Dieux</c:v>
                </c:pt>
                <c:pt idx="6">
                  <c:v>Casa Azzurra</c:v>
                </c:pt>
                <c:pt idx="7">
                  <c:v>Coeur De Lion</c:v>
                </c:pt>
              </c:strCache>
            </c:strRef>
          </c:cat>
          <c:val>
            <c:numRef>
              <c:f>Sheet1!$J$2:$J$9</c:f>
              <c:numCache>
                <c:formatCode>General</c:formatCode>
                <c:ptCount val="8"/>
                <c:pt idx="0">
                  <c:v>3.8113000000000001</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B$2:$B$10</c:f>
              <c:numCache>
                <c:formatCode>General</c:formatCode>
                <c:ptCount val="9"/>
                <c:pt idx="0">
                  <c:v>2.3521999999999998</c:v>
                </c:pt>
                <c:pt idx="1">
                  <c:v>2.83300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C$2:$C$10</c:f>
              <c:numCache>
                <c:formatCode>General</c:formatCode>
                <c:ptCount val="9"/>
                <c:pt idx="0">
                  <c:v>1.4641999999999999</c:v>
                </c:pt>
                <c:pt idx="1">
                  <c:v>2.5750000000000002</c:v>
                </c:pt>
                <c:pt idx="4">
                  <c:v>1.716</c:v>
                </c:pt>
                <c:pt idx="7">
                  <c:v>2.0792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D$2:$D$10</c:f>
              <c:numCache>
                <c:formatCode>General</c:formatCode>
                <c:ptCount val="9"/>
                <c:pt idx="0">
                  <c:v>2.0785999999999998</c:v>
                </c:pt>
                <c:pt idx="1">
                  <c:v>3.2345000000000002</c:v>
                </c:pt>
                <c:pt idx="3">
                  <c:v>2.4662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E$2:$E$10</c:f>
              <c:numCache>
                <c:formatCode>General</c:formatCode>
                <c:ptCount val="9"/>
                <c:pt idx="0">
                  <c:v>2.22639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F$2:$F$10</c:f>
              <c:numCache>
                <c:formatCode>General</c:formatCode>
                <c:ptCount val="9"/>
                <c:pt idx="0">
                  <c:v>2.6680999999999999</c:v>
                </c:pt>
                <c:pt idx="1">
                  <c:v>3.9357000000000002</c:v>
                </c:pt>
                <c:pt idx="5">
                  <c:v>2.4548999999999999</c:v>
                </c:pt>
                <c:pt idx="6">
                  <c:v>3.25830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G$2:$G$10</c:f>
              <c:numCache>
                <c:formatCode>General</c:formatCode>
                <c:ptCount val="9"/>
                <c:pt idx="0">
                  <c:v>2.2673999999999999</c:v>
                </c:pt>
                <c:pt idx="1">
                  <c:v>3.6017000000000001</c:v>
                </c:pt>
                <c:pt idx="2">
                  <c:v>2.1034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H$2:$H$10</c:f>
              <c:numCache>
                <c:formatCode>General</c:formatCode>
                <c:ptCount val="9"/>
                <c:pt idx="0">
                  <c:v>2.3803000000000001</c:v>
                </c:pt>
                <c:pt idx="6">
                  <c:v>3.6446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I$2:$I$10</c:f>
              <c:numCache>
                <c:formatCode>General</c:formatCode>
                <c:ptCount val="9"/>
                <c:pt idx="0">
                  <c:v>2.2715000000000001</c:v>
                </c:pt>
                <c:pt idx="8">
                  <c:v>2.956300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J$2:$J$10</c:f>
              <c:numCache>
                <c:formatCode>General</c:formatCode>
                <c:ptCount val="9"/>
                <c:pt idx="0">
                  <c:v>2.726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K$2:$K$10</c:f>
              <c:numCache>
                <c:formatCode>General</c:formatCode>
                <c:ptCount val="9"/>
                <c:pt idx="0">
                  <c:v>3.2818000000000001</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Private Label</c:v>
                </c:pt>
                <c:pt idx="1">
                  <c:v>President</c:v>
                </c:pt>
                <c:pt idx="2">
                  <c:v>Entremont</c:v>
                </c:pt>
                <c:pt idx="3">
                  <c:v>Galbani</c:v>
                </c:pt>
                <c:pt idx="4">
                  <c:v>Caprice Des Dieux</c:v>
                </c:pt>
              </c:strCache>
            </c:strRef>
          </c:cat>
          <c:val>
            <c:numRef>
              <c:f>Sheet1!$B$2:$B$6</c:f>
              <c:numCache>
                <c:formatCode>General</c:formatCode>
                <c:ptCount val="5"/>
                <c:pt idx="0">
                  <c:v>1.620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Private Label</c:v>
                </c:pt>
                <c:pt idx="1">
                  <c:v>President</c:v>
                </c:pt>
                <c:pt idx="2">
                  <c:v>Entremont</c:v>
                </c:pt>
                <c:pt idx="3">
                  <c:v>Galbani</c:v>
                </c:pt>
                <c:pt idx="4">
                  <c:v>Caprice Des Dieux</c:v>
                </c:pt>
              </c:strCache>
            </c:strRef>
          </c:cat>
          <c:val>
            <c:numRef>
              <c:f>Sheet1!$C$2:$C$6</c:f>
              <c:numCache>
                <c:formatCode>General</c:formatCode>
                <c:ptCount val="5"/>
                <c:pt idx="0">
                  <c:v>7.944600000000000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Private Label</c:v>
                </c:pt>
                <c:pt idx="1">
                  <c:v>President</c:v>
                </c:pt>
                <c:pt idx="2">
                  <c:v>Entremont</c:v>
                </c:pt>
                <c:pt idx="3">
                  <c:v>Galbani</c:v>
                </c:pt>
                <c:pt idx="4">
                  <c:v>Caprice Des Dieux</c:v>
                </c:pt>
              </c:strCache>
            </c:strRef>
          </c:cat>
          <c:val>
            <c:numRef>
              <c:f>Sheet1!$D$2:$D$6</c:f>
              <c:numCache>
                <c:formatCode>General</c:formatCode>
                <c:ptCount val="5"/>
                <c:pt idx="0">
                  <c:v>1.4187000000000001</c:v>
                </c:pt>
                <c:pt idx="3">
                  <c:v>1.6447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Private Label</c:v>
                </c:pt>
                <c:pt idx="1">
                  <c:v>President</c:v>
                </c:pt>
                <c:pt idx="2">
                  <c:v>Entremont</c:v>
                </c:pt>
                <c:pt idx="3">
                  <c:v>Galbani</c:v>
                </c:pt>
                <c:pt idx="4">
                  <c:v>Caprice Des Dieux</c:v>
                </c:pt>
              </c:strCache>
            </c:strRef>
          </c:cat>
          <c:val>
            <c:numRef>
              <c:f>Sheet1!$E$2:$E$6</c:f>
              <c:numCache>
                <c:formatCode>General</c:formatCode>
                <c:ptCount val="5"/>
                <c:pt idx="0">
                  <c:v>1.8260000000000001</c:v>
                </c:pt>
                <c:pt idx="3">
                  <c:v>3.12990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Private Label</c:v>
                </c:pt>
                <c:pt idx="1">
                  <c:v>President</c:v>
                </c:pt>
                <c:pt idx="2">
                  <c:v>Entremont</c:v>
                </c:pt>
                <c:pt idx="3">
                  <c:v>Galbani</c:v>
                </c:pt>
                <c:pt idx="4">
                  <c:v>Caprice Des Dieux</c:v>
                </c:pt>
              </c:strCache>
            </c:strRef>
          </c:cat>
          <c:val>
            <c:numRef>
              <c:f>Sheet1!$F$2:$F$6</c:f>
              <c:numCache>
                <c:formatCode>General</c:formatCode>
                <c:ptCount val="5"/>
                <c:pt idx="0">
                  <c:v>2.1358000000000001</c:v>
                </c:pt>
                <c:pt idx="1">
                  <c:v>2.3753000000000002</c:v>
                </c:pt>
                <c:pt idx="2">
                  <c:v>3.368799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Private Label</c:v>
                </c:pt>
                <c:pt idx="1">
                  <c:v>President</c:v>
                </c:pt>
                <c:pt idx="2">
                  <c:v>Entremont</c:v>
                </c:pt>
                <c:pt idx="3">
                  <c:v>Galbani</c:v>
                </c:pt>
                <c:pt idx="4">
                  <c:v>Caprice Des Dieux</c:v>
                </c:pt>
              </c:strCache>
            </c:strRef>
          </c:cat>
          <c:val>
            <c:numRef>
              <c:f>Sheet1!$G$2:$G$6</c:f>
              <c:numCache>
                <c:formatCode>General</c:formatCode>
                <c:ptCount val="5"/>
                <c:pt idx="0">
                  <c:v>2.1377999999999999</c:v>
                </c:pt>
                <c:pt idx="1">
                  <c:v>2.319300000000000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Private Label</c:v>
                </c:pt>
                <c:pt idx="1">
                  <c:v>President</c:v>
                </c:pt>
                <c:pt idx="2">
                  <c:v>Entremont</c:v>
                </c:pt>
                <c:pt idx="3">
                  <c:v>Galbani</c:v>
                </c:pt>
                <c:pt idx="4">
                  <c:v>Caprice Des Dieux</c:v>
                </c:pt>
              </c:strCache>
            </c:strRef>
          </c:cat>
          <c:val>
            <c:numRef>
              <c:f>Sheet1!$H$2:$H$6</c:f>
              <c:numCache>
                <c:formatCode>General</c:formatCode>
                <c:ptCount val="5"/>
                <c:pt idx="0">
                  <c:v>2.4672999999999998</c:v>
                </c:pt>
                <c:pt idx="4">
                  <c:v>3.7669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Private Label</c:v>
                </c:pt>
                <c:pt idx="1">
                  <c:v>President</c:v>
                </c:pt>
                <c:pt idx="2">
                  <c:v>Entremont</c:v>
                </c:pt>
                <c:pt idx="3">
                  <c:v>Galbani</c:v>
                </c:pt>
                <c:pt idx="4">
                  <c:v>Caprice Des Dieux</c:v>
                </c:pt>
              </c:strCache>
            </c:strRef>
          </c:cat>
          <c:val>
            <c:numRef>
              <c:f>Sheet1!$I$2:$I$6</c:f>
              <c:numCache>
                <c:formatCode>General</c:formatCode>
                <c:ptCount val="5"/>
                <c:pt idx="0">
                  <c:v>3.1549999999999998</c:v>
                </c:pt>
                <c:pt idx="1">
                  <c:v>3.338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Private Label</c:v>
                </c:pt>
                <c:pt idx="1">
                  <c:v>President</c:v>
                </c:pt>
                <c:pt idx="2">
                  <c:v>Entremont</c:v>
                </c:pt>
                <c:pt idx="3">
                  <c:v>Galbani</c:v>
                </c:pt>
                <c:pt idx="4">
                  <c:v>Caprice Des Dieux</c:v>
                </c:pt>
              </c:strCache>
            </c:strRef>
          </c:cat>
          <c:val>
            <c:numRef>
              <c:f>Sheet1!$J$2:$J$6</c:f>
              <c:numCache>
                <c:formatCode>General</c:formatCode>
                <c:ptCount val="5"/>
                <c:pt idx="0">
                  <c:v>3.406600000000000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Private Label</c:v>
                </c:pt>
                <c:pt idx="1">
                  <c:v>President</c:v>
                </c:pt>
                <c:pt idx="2">
                  <c:v>Entremont</c:v>
                </c:pt>
                <c:pt idx="3">
                  <c:v>Galbani</c:v>
                </c:pt>
                <c:pt idx="4">
                  <c:v>Caprice Des Dieux</c:v>
                </c:pt>
              </c:strCache>
            </c:strRef>
          </c:cat>
          <c:val>
            <c:numRef>
              <c:f>Sheet1!$K$2:$K$6</c:f>
              <c:numCache>
                <c:formatCode>General</c:formatCode>
                <c:ptCount val="5"/>
                <c:pt idx="0">
                  <c:v>3.794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7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Private Label</c:v>
                </c:pt>
                <c:pt idx="1">
                  <c:v>President</c:v>
                </c:pt>
                <c:pt idx="2">
                  <c:v>Entremont</c:v>
                </c:pt>
                <c:pt idx="3">
                  <c:v>Galbani</c:v>
                </c:pt>
                <c:pt idx="4">
                  <c:v>Caprice Des Dieux</c:v>
                </c:pt>
              </c:strCache>
            </c:strRef>
          </c:cat>
          <c:val>
            <c:numRef>
              <c:f>Sheet1!$L$2:$L$6</c:f>
              <c:numCache>
                <c:formatCode>General</c:formatCode>
                <c:ptCount val="5"/>
                <c:pt idx="0">
                  <c:v>1.9049</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B$2:$B$10</c:f>
              <c:numCache>
                <c:formatCode>General</c:formatCode>
                <c:ptCount val="9"/>
                <c:pt idx="0">
                  <c:v>2.173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C$2:$C$10</c:f>
              <c:numCache>
                <c:formatCode>General</c:formatCode>
                <c:ptCount val="9"/>
                <c:pt idx="0">
                  <c:v>1.3553999999999999</c:v>
                </c:pt>
                <c:pt idx="3">
                  <c:v>1.6195999999999999</c:v>
                </c:pt>
                <c:pt idx="7">
                  <c:v>1.8734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D$2:$D$10</c:f>
              <c:numCache>
                <c:formatCode>General</c:formatCode>
                <c:ptCount val="9"/>
                <c:pt idx="0">
                  <c:v>1.8089999999999999</c:v>
                </c:pt>
                <c:pt idx="3">
                  <c:v>3.0081000000000002</c:v>
                </c:pt>
                <c:pt idx="4">
                  <c:v>2.3248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E$2:$E$10</c:f>
              <c:numCache>
                <c:formatCode>General</c:formatCode>
                <c:ptCount val="9"/>
                <c:pt idx="0">
                  <c:v>2.098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F$2:$F$10</c:f>
              <c:numCache>
                <c:formatCode>General</c:formatCode>
                <c:ptCount val="9"/>
                <c:pt idx="0">
                  <c:v>2.4413</c:v>
                </c:pt>
                <c:pt idx="1">
                  <c:v>3.7185999999999999</c:v>
                </c:pt>
                <c:pt idx="5">
                  <c:v>2.2940999999999998</c:v>
                </c:pt>
                <c:pt idx="6">
                  <c:v>3.1402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G$2:$G$10</c:f>
              <c:numCache>
                <c:formatCode>General</c:formatCode>
                <c:ptCount val="9"/>
                <c:pt idx="0">
                  <c:v>2.0844999999999998</c:v>
                </c:pt>
                <c:pt idx="1">
                  <c:v>3.2993999999999999</c:v>
                </c:pt>
                <c:pt idx="2">
                  <c:v>2.062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H$2:$H$10</c:f>
              <c:numCache>
                <c:formatCode>General</c:formatCode>
                <c:ptCount val="9"/>
                <c:pt idx="0">
                  <c:v>2.3471000000000002</c:v>
                </c:pt>
                <c:pt idx="4">
                  <c:v>3.4746000000000001</c:v>
                </c:pt>
                <c:pt idx="6">
                  <c:v>3.5059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I$2:$I$10</c:f>
              <c:numCache>
                <c:formatCode>General</c:formatCode>
                <c:ptCount val="9"/>
                <c:pt idx="0">
                  <c:v>2.2717000000000001</c:v>
                </c:pt>
                <c:pt idx="8">
                  <c:v>2.739599999999999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J$2:$J$10</c:f>
              <c:numCache>
                <c:formatCode>General</c:formatCode>
                <c:ptCount val="9"/>
                <c:pt idx="0">
                  <c:v>2.74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K$2:$K$10</c:f>
              <c:numCache>
                <c:formatCode>General</c:formatCode>
                <c:ptCount val="9"/>
                <c:pt idx="0">
                  <c:v>2.941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L$2:$L$10</c:f>
              <c:numCache>
                <c:formatCode>General</c:formatCode>
                <c:ptCount val="9"/>
                <c:pt idx="0">
                  <c:v>3.8161999999999998</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B$2:$B$10</c:f>
              <c:numCache>
                <c:formatCode>General</c:formatCode>
                <c:ptCount val="9"/>
                <c:pt idx="0">
                  <c:v>2.3521999999999998</c:v>
                </c:pt>
                <c:pt idx="1">
                  <c:v>2.8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C$2:$C$10</c:f>
              <c:numCache>
                <c:formatCode>General</c:formatCode>
                <c:ptCount val="9"/>
                <c:pt idx="0">
                  <c:v>1.4641999999999999</c:v>
                </c:pt>
                <c:pt idx="1">
                  <c:v>2.5741999999999998</c:v>
                </c:pt>
                <c:pt idx="4">
                  <c:v>1.716</c:v>
                </c:pt>
                <c:pt idx="7">
                  <c:v>2.0792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D$2:$D$10</c:f>
              <c:numCache>
                <c:formatCode>General</c:formatCode>
                <c:ptCount val="9"/>
                <c:pt idx="0">
                  <c:v>2.0785999999999998</c:v>
                </c:pt>
                <c:pt idx="1">
                  <c:v>3.2280000000000002</c:v>
                </c:pt>
                <c:pt idx="3">
                  <c:v>2.4662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E$2:$E$10</c:f>
              <c:numCache>
                <c:formatCode>General</c:formatCode>
                <c:ptCount val="9"/>
                <c:pt idx="0">
                  <c:v>2.2263999999999999</c:v>
                </c:pt>
                <c:pt idx="5">
                  <c:v>2.739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F$2:$F$10</c:f>
              <c:numCache>
                <c:formatCode>General</c:formatCode>
                <c:ptCount val="9"/>
                <c:pt idx="0">
                  <c:v>2.6680999999999999</c:v>
                </c:pt>
                <c:pt idx="1">
                  <c:v>3.9329999999999998</c:v>
                </c:pt>
                <c:pt idx="5">
                  <c:v>2.4548999999999999</c:v>
                </c:pt>
                <c:pt idx="6">
                  <c:v>3.25830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G$2:$G$10</c:f>
              <c:numCache>
                <c:formatCode>General</c:formatCode>
                <c:ptCount val="9"/>
                <c:pt idx="0">
                  <c:v>2.2673999999999999</c:v>
                </c:pt>
                <c:pt idx="1">
                  <c:v>3.6017000000000001</c:v>
                </c:pt>
                <c:pt idx="2">
                  <c:v>2.1034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H$2:$H$10</c:f>
              <c:numCache>
                <c:formatCode>General</c:formatCode>
                <c:ptCount val="9"/>
                <c:pt idx="0">
                  <c:v>2.3803000000000001</c:v>
                </c:pt>
                <c:pt idx="6">
                  <c:v>3.6446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I$2:$I$10</c:f>
              <c:numCache>
                <c:formatCode>General</c:formatCode>
                <c:ptCount val="9"/>
                <c:pt idx="0">
                  <c:v>2.2715000000000001</c:v>
                </c:pt>
                <c:pt idx="8">
                  <c:v>2.956300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J$2:$J$10</c:f>
              <c:numCache>
                <c:formatCode>General</c:formatCode>
                <c:ptCount val="9"/>
                <c:pt idx="0">
                  <c:v>2.726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K$2:$K$10</c:f>
              <c:numCache>
                <c:formatCode>General</c:formatCode>
                <c:ptCount val="9"/>
                <c:pt idx="0">
                  <c:v>3.2818000000000001</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Galbani</c:v>
                </c:pt>
                <c:pt idx="2">
                  <c:v>President</c:v>
                </c:pt>
                <c:pt idx="3">
                  <c:v>All Others</c:v>
                </c:pt>
                <c:pt idx="4">
                  <c:v>St Moret</c:v>
                </c:pt>
                <c:pt idx="5">
                  <c:v>Soignon</c:v>
                </c:pt>
                <c:pt idx="6">
                  <c:v>Caprice Des Dieux</c:v>
                </c:pt>
                <c:pt idx="7">
                  <c:v>Coeur De Lion</c:v>
                </c:pt>
              </c:strCache>
            </c:strRef>
          </c:cat>
          <c:val>
            <c:numRef>
              <c:f>Sheet1!$B$2:$B$9</c:f>
              <c:numCache>
                <c:formatCode>General</c:formatCode>
                <c:ptCount val="8"/>
                <c:pt idx="0">
                  <c:v>1.3976999999999999</c:v>
                </c:pt>
                <c:pt idx="1">
                  <c:v>1.6447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Galbani</c:v>
                </c:pt>
                <c:pt idx="2">
                  <c:v>President</c:v>
                </c:pt>
                <c:pt idx="3">
                  <c:v>All Others</c:v>
                </c:pt>
                <c:pt idx="4">
                  <c:v>St Moret</c:v>
                </c:pt>
                <c:pt idx="5">
                  <c:v>Soignon</c:v>
                </c:pt>
                <c:pt idx="6">
                  <c:v>Caprice Des Dieux</c:v>
                </c:pt>
                <c:pt idx="7">
                  <c:v>Coeur De Lion</c:v>
                </c:pt>
              </c:strCache>
            </c:strRef>
          </c:cat>
          <c:val>
            <c:numRef>
              <c:f>Sheet1!$C$2:$C$9</c:f>
              <c:numCache>
                <c:formatCode>General</c:formatCode>
                <c:ptCount val="8"/>
                <c:pt idx="0">
                  <c:v>1.7119</c:v>
                </c:pt>
                <c:pt idx="1">
                  <c:v>3.1242999999999999</c:v>
                </c:pt>
                <c:pt idx="4">
                  <c:v>2.3075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Galbani</c:v>
                </c:pt>
                <c:pt idx="2">
                  <c:v>President</c:v>
                </c:pt>
                <c:pt idx="3">
                  <c:v>All Others</c:v>
                </c:pt>
                <c:pt idx="4">
                  <c:v>St Moret</c:v>
                </c:pt>
                <c:pt idx="5">
                  <c:v>Soignon</c:v>
                </c:pt>
                <c:pt idx="6">
                  <c:v>Caprice Des Dieux</c:v>
                </c:pt>
                <c:pt idx="7">
                  <c:v>Coeur De Lion</c:v>
                </c:pt>
              </c:strCache>
            </c:strRef>
          </c:cat>
          <c:val>
            <c:numRef>
              <c:f>Sheet1!$D$2:$D$9</c:f>
              <c:numCache>
                <c:formatCode>General</c:formatCode>
                <c:ptCount val="8"/>
                <c:pt idx="2">
                  <c:v>2.1297999999999999</c:v>
                </c:pt>
                <c:pt idx="4">
                  <c:v>2.2938000000000001</c:v>
                </c:pt>
                <c:pt idx="5">
                  <c:v>2.6882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Galbani</c:v>
                </c:pt>
                <c:pt idx="2">
                  <c:v>President</c:v>
                </c:pt>
                <c:pt idx="3">
                  <c:v>All Others</c:v>
                </c:pt>
                <c:pt idx="4">
                  <c:v>St Moret</c:v>
                </c:pt>
                <c:pt idx="5">
                  <c:v>Soignon</c:v>
                </c:pt>
                <c:pt idx="6">
                  <c:v>Caprice Des Dieux</c:v>
                </c:pt>
                <c:pt idx="7">
                  <c:v>Coeur De Lion</c:v>
                </c:pt>
              </c:strCache>
            </c:strRef>
          </c:cat>
          <c:val>
            <c:numRef>
              <c:f>Sheet1!$E$2:$E$9</c:f>
              <c:numCache>
                <c:formatCode>General</c:formatCode>
                <c:ptCount val="8"/>
                <c:pt idx="0">
                  <c:v>2.532</c:v>
                </c:pt>
                <c:pt idx="5">
                  <c:v>2.2808999999999999</c:v>
                </c:pt>
                <c:pt idx="6">
                  <c:v>3.03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Galbani</c:v>
                </c:pt>
                <c:pt idx="2">
                  <c:v>President</c:v>
                </c:pt>
                <c:pt idx="3">
                  <c:v>All Others</c:v>
                </c:pt>
                <c:pt idx="4">
                  <c:v>St Moret</c:v>
                </c:pt>
                <c:pt idx="5">
                  <c:v>Soignon</c:v>
                </c:pt>
                <c:pt idx="6">
                  <c:v>Caprice Des Dieux</c:v>
                </c:pt>
                <c:pt idx="7">
                  <c:v>Coeur De Lion</c:v>
                </c:pt>
              </c:strCache>
            </c:strRef>
          </c:cat>
          <c:val>
            <c:numRef>
              <c:f>Sheet1!$F$2:$F$9</c:f>
              <c:numCache>
                <c:formatCode>General</c:formatCode>
                <c:ptCount val="8"/>
                <c:pt idx="0">
                  <c:v>1.8571</c:v>
                </c:pt>
                <c:pt idx="2">
                  <c:v>2.1446000000000001</c:v>
                </c:pt>
                <c:pt idx="3">
                  <c:v>3.1257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Galbani</c:v>
                </c:pt>
                <c:pt idx="2">
                  <c:v>President</c:v>
                </c:pt>
                <c:pt idx="3">
                  <c:v>All Others</c:v>
                </c:pt>
                <c:pt idx="4">
                  <c:v>St Moret</c:v>
                </c:pt>
                <c:pt idx="5">
                  <c:v>Soignon</c:v>
                </c:pt>
                <c:pt idx="6">
                  <c:v>Caprice Des Dieux</c:v>
                </c:pt>
                <c:pt idx="7">
                  <c:v>Coeur De Lion</c:v>
                </c:pt>
              </c:strCache>
            </c:strRef>
          </c:cat>
          <c:val>
            <c:numRef>
              <c:f>Sheet1!$G$2:$G$9</c:f>
              <c:numCache>
                <c:formatCode>General</c:formatCode>
                <c:ptCount val="8"/>
                <c:pt idx="0">
                  <c:v>2.4792000000000001</c:v>
                </c:pt>
                <c:pt idx="4">
                  <c:v>3.6204000000000001</c:v>
                </c:pt>
                <c:pt idx="5">
                  <c:v>3.2179000000000002</c:v>
                </c:pt>
                <c:pt idx="6">
                  <c:v>3.76699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Galbani</c:v>
                </c:pt>
                <c:pt idx="2">
                  <c:v>President</c:v>
                </c:pt>
                <c:pt idx="3">
                  <c:v>All Others</c:v>
                </c:pt>
                <c:pt idx="4">
                  <c:v>St Moret</c:v>
                </c:pt>
                <c:pt idx="5">
                  <c:v>Soignon</c:v>
                </c:pt>
                <c:pt idx="6">
                  <c:v>Caprice Des Dieux</c:v>
                </c:pt>
                <c:pt idx="7">
                  <c:v>Coeur De Lion</c:v>
                </c:pt>
              </c:strCache>
            </c:strRef>
          </c:cat>
          <c:val>
            <c:numRef>
              <c:f>Sheet1!$H$2:$H$9</c:f>
              <c:numCache>
                <c:formatCode>General</c:formatCode>
                <c:ptCount val="8"/>
                <c:pt idx="0">
                  <c:v>2.2565</c:v>
                </c:pt>
                <c:pt idx="2">
                  <c:v>2.9597000000000002</c:v>
                </c:pt>
                <c:pt idx="7">
                  <c:v>2.8443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Galbani</c:v>
                </c:pt>
                <c:pt idx="2">
                  <c:v>President</c:v>
                </c:pt>
                <c:pt idx="3">
                  <c:v>All Others</c:v>
                </c:pt>
                <c:pt idx="4">
                  <c:v>St Moret</c:v>
                </c:pt>
                <c:pt idx="5">
                  <c:v>Soignon</c:v>
                </c:pt>
                <c:pt idx="6">
                  <c:v>Caprice Des Dieux</c:v>
                </c:pt>
                <c:pt idx="7">
                  <c:v>Coeur De Lion</c:v>
                </c:pt>
              </c:strCache>
            </c:strRef>
          </c:cat>
          <c:val>
            <c:numRef>
              <c:f>Sheet1!$I$2:$I$9</c:f>
              <c:numCache>
                <c:formatCode>General</c:formatCode>
                <c:ptCount val="8"/>
                <c:pt idx="1">
                  <c:v>3.55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Galbani</c:v>
                </c:pt>
                <c:pt idx="2">
                  <c:v>President</c:v>
                </c:pt>
                <c:pt idx="3">
                  <c:v>All Others</c:v>
                </c:pt>
                <c:pt idx="4">
                  <c:v>St Moret</c:v>
                </c:pt>
                <c:pt idx="5">
                  <c:v>Soignon</c:v>
                </c:pt>
                <c:pt idx="6">
                  <c:v>Caprice Des Dieux</c:v>
                </c:pt>
                <c:pt idx="7">
                  <c:v>Coeur De Lion</c:v>
                </c:pt>
              </c:strCache>
            </c:strRef>
          </c:cat>
          <c:val>
            <c:numRef>
              <c:f>Sheet1!$J$2:$J$9</c:f>
              <c:numCache>
                <c:formatCode>General</c:formatCode>
                <c:ptCount val="8"/>
                <c:pt idx="0">
                  <c:v>3.1678999999999999</c:v>
                </c:pt>
                <c:pt idx="4">
                  <c:v>4.493699999999999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Galbani</c:v>
                </c:pt>
                <c:pt idx="2">
                  <c:v>President</c:v>
                </c:pt>
                <c:pt idx="3">
                  <c:v>All Others</c:v>
                </c:pt>
                <c:pt idx="4">
                  <c:v>St Moret</c:v>
                </c:pt>
                <c:pt idx="5">
                  <c:v>Soignon</c:v>
                </c:pt>
                <c:pt idx="6">
                  <c:v>Caprice Des Dieux</c:v>
                </c:pt>
                <c:pt idx="7">
                  <c:v>Coeur De Lion</c:v>
                </c:pt>
              </c:strCache>
            </c:strRef>
          </c:cat>
          <c:val>
            <c:numRef>
              <c:f>Sheet1!$K$2:$K$9</c:f>
              <c:numCache>
                <c:formatCode>General</c:formatCode>
                <c:ptCount val="8"/>
                <c:pt idx="0">
                  <c:v>3.7589999999999999</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B$2:$B$7</c:f>
              <c:numCache>
                <c:formatCode>General</c:formatCode>
                <c:ptCount val="6"/>
                <c:pt idx="1">
                  <c:v>2.0144000000000002</c:v>
                </c:pt>
                <c:pt idx="2">
                  <c:v>3.5047999999999999</c:v>
                </c:pt>
                <c:pt idx="3">
                  <c:v>2.871</c:v>
                </c:pt>
                <c:pt idx="4">
                  <c:v>2.6423000000000001</c:v>
                </c:pt>
                <c:pt idx="5">
                  <c:v>5.37870000000000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C$2:$C$7</c:f>
              <c:numCache>
                <c:formatCode>General</c:formatCode>
                <c:ptCount val="6"/>
                <c:pt idx="0">
                  <c:v>2.399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D$2:$D$7</c:f>
              <c:numCache>
                <c:formatCode>General</c:formatCode>
                <c:ptCount val="6"/>
                <c:pt idx="0">
                  <c:v>4.238599999999999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Apericube</c:v>
                </c:pt>
                <c:pt idx="1">
                  <c:v>Aperivrais</c:v>
                </c:pt>
                <c:pt idx="2">
                  <c:v>Boursin</c:v>
                </c:pt>
                <c:pt idx="3">
                  <c:v>Private Label</c:v>
                </c:pt>
                <c:pt idx="4">
                  <c:v>St Moret</c:v>
                </c:pt>
                <c:pt idx="5">
                  <c:v>All Others</c:v>
                </c:pt>
                <c:pt idx="6">
                  <c:v>Leerdammer</c:v>
                </c:pt>
              </c:strCache>
            </c:strRef>
          </c:cat>
          <c:val>
            <c:numRef>
              <c:f>Sheet1!$B$2:$B$8</c:f>
              <c:numCache>
                <c:formatCode>General</c:formatCode>
                <c:ptCount val="7"/>
                <c:pt idx="1">
                  <c:v>2.1343000000000001</c:v>
                </c:pt>
                <c:pt idx="2">
                  <c:v>3.4523000000000001</c:v>
                </c:pt>
                <c:pt idx="3">
                  <c:v>3.1278999999999999</c:v>
                </c:pt>
                <c:pt idx="4">
                  <c:v>2.6861999999999999</c:v>
                </c:pt>
                <c:pt idx="5">
                  <c:v>5.69949999999999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Apericube</c:v>
                </c:pt>
                <c:pt idx="1">
                  <c:v>Aperivrais</c:v>
                </c:pt>
                <c:pt idx="2">
                  <c:v>Boursin</c:v>
                </c:pt>
                <c:pt idx="3">
                  <c:v>Private Label</c:v>
                </c:pt>
                <c:pt idx="4">
                  <c:v>St Moret</c:v>
                </c:pt>
                <c:pt idx="5">
                  <c:v>All Others</c:v>
                </c:pt>
                <c:pt idx="6">
                  <c:v>Leerdammer</c:v>
                </c:pt>
              </c:strCache>
            </c:strRef>
          </c:cat>
          <c:val>
            <c:numRef>
              <c:f>Sheet1!$C$2:$C$8</c:f>
              <c:numCache>
                <c:formatCode>General</c:formatCode>
                <c:ptCount val="7"/>
                <c:pt idx="0">
                  <c:v>2.4738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Apericube</c:v>
                </c:pt>
                <c:pt idx="1">
                  <c:v>Aperivrais</c:v>
                </c:pt>
                <c:pt idx="2">
                  <c:v>Boursin</c:v>
                </c:pt>
                <c:pt idx="3">
                  <c:v>Private Label</c:v>
                </c:pt>
                <c:pt idx="4">
                  <c:v>St Moret</c:v>
                </c:pt>
                <c:pt idx="5">
                  <c:v>All Others</c:v>
                </c:pt>
                <c:pt idx="6">
                  <c:v>Leerdammer</c:v>
                </c:pt>
              </c:strCache>
            </c:strRef>
          </c:cat>
          <c:val>
            <c:numRef>
              <c:f>Sheet1!$D$2:$D$8</c:f>
              <c:numCache>
                <c:formatCode>General</c:formatCode>
                <c:ptCount val="7"/>
                <c:pt idx="0">
                  <c:v>4.47700000000000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Apericube</c:v>
                </c:pt>
                <c:pt idx="1">
                  <c:v>Aperivrais</c:v>
                </c:pt>
                <c:pt idx="2">
                  <c:v>Boursin</c:v>
                </c:pt>
                <c:pt idx="3">
                  <c:v>Private Label</c:v>
                </c:pt>
                <c:pt idx="4">
                  <c:v>St Moret</c:v>
                </c:pt>
                <c:pt idx="5">
                  <c:v>All Others</c:v>
                </c:pt>
                <c:pt idx="6">
                  <c:v>Leerdammer</c:v>
                </c:pt>
              </c:strCache>
            </c:strRef>
          </c:cat>
          <c:val>
            <c:numRef>
              <c:f>Sheet1!$E$2:$E$8</c:f>
              <c:numCache>
                <c:formatCode>General</c:formatCode>
                <c:ptCount val="7"/>
                <c:pt idx="6">
                  <c:v>1.866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Apericube</c:v>
                </c:pt>
                <c:pt idx="1">
                  <c:v>Aperivrais</c:v>
                </c:pt>
                <c:pt idx="2">
                  <c:v>Boursin</c:v>
                </c:pt>
                <c:pt idx="3">
                  <c:v>St Moret</c:v>
                </c:pt>
                <c:pt idx="4">
                  <c:v>Private Label</c:v>
                </c:pt>
              </c:strCache>
            </c:strRef>
          </c:cat>
          <c:val>
            <c:numRef>
              <c:f>Sheet1!$B$2:$B$6</c:f>
              <c:numCache>
                <c:formatCode>General</c:formatCode>
                <c:ptCount val="5"/>
                <c:pt idx="1">
                  <c:v>2.1753</c:v>
                </c:pt>
                <c:pt idx="2">
                  <c:v>3.5583</c:v>
                </c:pt>
                <c:pt idx="3">
                  <c:v>2.6888000000000001</c:v>
                </c:pt>
                <c:pt idx="4">
                  <c:v>2.8294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Apericube</c:v>
                </c:pt>
                <c:pt idx="1">
                  <c:v>Aperivrais</c:v>
                </c:pt>
                <c:pt idx="2">
                  <c:v>Boursin</c:v>
                </c:pt>
                <c:pt idx="3">
                  <c:v>St Moret</c:v>
                </c:pt>
                <c:pt idx="4">
                  <c:v>Private Label</c:v>
                </c:pt>
              </c:strCache>
            </c:strRef>
          </c:cat>
          <c:val>
            <c:numRef>
              <c:f>Sheet1!$C$2:$C$6</c:f>
              <c:numCache>
                <c:formatCode>General</c:formatCode>
                <c:ptCount val="5"/>
                <c:pt idx="0">
                  <c:v>2.3662999999999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Apericube</c:v>
                </c:pt>
                <c:pt idx="1">
                  <c:v>Aperivrais</c:v>
                </c:pt>
                <c:pt idx="2">
                  <c:v>Boursin</c:v>
                </c:pt>
                <c:pt idx="3">
                  <c:v>St Moret</c:v>
                </c:pt>
                <c:pt idx="4">
                  <c:v>Private Label</c:v>
                </c:pt>
              </c:strCache>
            </c:strRef>
          </c:cat>
          <c:val>
            <c:numRef>
              <c:f>Sheet1!$D$2:$D$6</c:f>
              <c:numCache>
                <c:formatCode>General</c:formatCode>
                <c:ptCount val="5"/>
                <c:pt idx="4">
                  <c:v>2.15229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Apericube</c:v>
                </c:pt>
                <c:pt idx="1">
                  <c:v>Aperivrais</c:v>
                </c:pt>
                <c:pt idx="2">
                  <c:v>Boursin</c:v>
                </c:pt>
                <c:pt idx="3">
                  <c:v>St Moret</c:v>
                </c:pt>
                <c:pt idx="4">
                  <c:v>Private Label</c:v>
                </c:pt>
              </c:strCache>
            </c:strRef>
          </c:cat>
          <c:val>
            <c:numRef>
              <c:f>Sheet1!$E$2:$E$6</c:f>
              <c:numCache>
                <c:formatCode>General</c:formatCode>
                <c:ptCount val="5"/>
                <c:pt idx="0">
                  <c:v>4.4103000000000003</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5EC2A0-607D-4ED9-A8EC-8267006AC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B09469-78A1-4A98-B318-DA6BCC37E8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88D4192-66B3-4F52-AECD-FB0F91D09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EAC868B-F00F-4D07-B82C-038C56F66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CDCA0C1-79D9-4FF2-8FF0-725BC5C29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14B3082-F72F-4D1E-BE85-0F1F7BD5F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DDF3AC-E43A-4AE7-A12F-6CA33FCCA7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178179C-D629-43A9-BDF5-9A07F24BDC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2044999999999999</c:v>
                </c:pt>
                <c:pt idx="1">
                  <c:v>2.6366000000000001</c:v>
                </c:pt>
                <c:pt idx="2">
                  <c:v>3.2170999999999998</c:v>
                </c:pt>
                <c:pt idx="3">
                  <c:v>2.5398000000000001</c:v>
                </c:pt>
                <c:pt idx="4">
                  <c:v>2.9603000000000002</c:v>
                </c:pt>
                <c:pt idx="5">
                  <c:v>2.7498999999999998</c:v>
                </c:pt>
                <c:pt idx="6">
                  <c:v>3.6238000000000001</c:v>
                </c:pt>
                <c:pt idx="7">
                  <c:v>3.3898000000000001</c:v>
                </c:pt>
                <c:pt idx="8">
                  <c:v>2.5404</c:v>
                </c:pt>
              </c:numCache>
            </c:numRef>
          </c:xVal>
          <c:yVal>
            <c:numRef>
              <c:f>Sheet1!$B$2:$B$10</c:f>
              <c:numCache>
                <c:formatCode>General</c:formatCode>
                <c:ptCount val="9"/>
                <c:pt idx="0">
                  <c:v>0.85</c:v>
                </c:pt>
                <c:pt idx="1">
                  <c:v>0.92800000000000005</c:v>
                </c:pt>
                <c:pt idx="2">
                  <c:v>1.296</c:v>
                </c:pt>
                <c:pt idx="3">
                  <c:v>1.181</c:v>
                </c:pt>
                <c:pt idx="4">
                  <c:v>1.145</c:v>
                </c:pt>
                <c:pt idx="5">
                  <c:v>1.091</c:v>
                </c:pt>
                <c:pt idx="6">
                  <c:v>1.1499999999999999</c:v>
                </c:pt>
                <c:pt idx="7">
                  <c:v>1.19</c:v>
                </c:pt>
                <c:pt idx="8">
                  <c:v>0.754</c:v>
                </c:pt>
              </c:numCache>
            </c:numRef>
          </c:yVal>
          <c:bubbleSize>
            <c:numRef>
              <c:f>Sheet1!$C$2:$C$10</c:f>
              <c:numCache>
                <c:formatCode>General</c:formatCode>
                <c:ptCount val="9"/>
                <c:pt idx="0">
                  <c:v>160601106</c:v>
                </c:pt>
                <c:pt idx="1">
                  <c:v>25846068</c:v>
                </c:pt>
                <c:pt idx="2">
                  <c:v>14772179</c:v>
                </c:pt>
                <c:pt idx="3">
                  <c:v>13917161</c:v>
                </c:pt>
                <c:pt idx="4">
                  <c:v>9429711</c:v>
                </c:pt>
                <c:pt idx="5">
                  <c:v>9122536</c:v>
                </c:pt>
                <c:pt idx="6">
                  <c:v>8436176</c:v>
                </c:pt>
                <c:pt idx="7">
                  <c:v>7436715</c:v>
                </c:pt>
                <c:pt idx="8">
                  <c:v>6619006</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Entremont</c:v>
                  </c:pt>
                  <c:pt idx="3">
                    <c:v>Galbani</c:v>
                  </c:pt>
                  <c:pt idx="4">
                    <c:v>St Moret</c:v>
                  </c:pt>
                  <c:pt idx="5">
                    <c:v>Soignon</c:v>
                  </c:pt>
                  <c:pt idx="6">
                    <c:v>Leerdammer</c:v>
                  </c:pt>
                  <c:pt idx="7">
                    <c:v>Caprice Des Dieux</c:v>
                  </c:pt>
                  <c:pt idx="8">
                    <c:v>Coeur De Lio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President</c:v>
                </c:pt>
                <c:pt idx="2">
                  <c:v>La Belle Etoile</c:v>
                </c:pt>
                <c:pt idx="3">
                  <c:v>All Others</c:v>
                </c:pt>
                <c:pt idx="4">
                  <c:v>Raguin</c:v>
                </c:pt>
                <c:pt idx="5">
                  <c:v>Boursin</c:v>
                </c:pt>
                <c:pt idx="6">
                  <c:v>Milleret: All Others</c:v>
                </c:pt>
              </c:strCache>
            </c:strRef>
          </c:cat>
          <c:val>
            <c:numRef>
              <c:f>Sheet1!$B$2:$B$8</c:f>
              <c:numCache>
                <c:formatCode>General</c:formatCode>
                <c:ptCount val="7"/>
                <c:pt idx="0">
                  <c:v>1.2685</c:v>
                </c:pt>
                <c:pt idx="1">
                  <c:v>1.645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2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President</c:v>
                </c:pt>
                <c:pt idx="2">
                  <c:v>La Belle Etoile</c:v>
                </c:pt>
                <c:pt idx="3">
                  <c:v>All Others</c:v>
                </c:pt>
                <c:pt idx="4">
                  <c:v>Raguin</c:v>
                </c:pt>
                <c:pt idx="5">
                  <c:v>Boursin</c:v>
                </c:pt>
                <c:pt idx="6">
                  <c:v>Milleret: All Others</c:v>
                </c:pt>
              </c:strCache>
            </c:strRef>
          </c:cat>
          <c:val>
            <c:numRef>
              <c:f>Sheet1!$C$2:$C$8</c:f>
              <c:numCache>
                <c:formatCode>General</c:formatCode>
                <c:ptCount val="7"/>
                <c:pt idx="3">
                  <c:v>2.2764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President</c:v>
                </c:pt>
                <c:pt idx="2">
                  <c:v>La Belle Etoile</c:v>
                </c:pt>
                <c:pt idx="3">
                  <c:v>All Others</c:v>
                </c:pt>
                <c:pt idx="4">
                  <c:v>Raguin</c:v>
                </c:pt>
                <c:pt idx="5">
                  <c:v>Boursin</c:v>
                </c:pt>
                <c:pt idx="6">
                  <c:v>Milleret: All Others</c:v>
                </c:pt>
              </c:strCache>
            </c:strRef>
          </c:cat>
          <c:val>
            <c:numRef>
              <c:f>Sheet1!$D$2:$D$8</c:f>
              <c:numCache>
                <c:formatCode>General</c:formatCode>
                <c:ptCount val="7"/>
                <c:pt idx="5">
                  <c:v>2.7090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President</c:v>
                </c:pt>
                <c:pt idx="2">
                  <c:v>La Belle Etoile</c:v>
                </c:pt>
                <c:pt idx="3">
                  <c:v>All Others</c:v>
                </c:pt>
                <c:pt idx="4">
                  <c:v>Raguin</c:v>
                </c:pt>
                <c:pt idx="5">
                  <c:v>Boursin</c:v>
                </c:pt>
                <c:pt idx="6">
                  <c:v>Milleret: All Others</c:v>
                </c:pt>
              </c:strCache>
            </c:strRef>
          </c:cat>
          <c:val>
            <c:numRef>
              <c:f>Sheet1!$E$2:$E$8</c:f>
              <c:numCache>
                <c:formatCode>General</c:formatCode>
                <c:ptCount val="7"/>
                <c:pt idx="0">
                  <c:v>2.0596000000000001</c:v>
                </c:pt>
                <c:pt idx="4">
                  <c:v>2.7054</c:v>
                </c:pt>
                <c:pt idx="6">
                  <c:v>2.7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4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President</c:v>
                </c:pt>
                <c:pt idx="2">
                  <c:v>La Belle Etoile</c:v>
                </c:pt>
                <c:pt idx="3">
                  <c:v>All Others</c:v>
                </c:pt>
                <c:pt idx="4">
                  <c:v>Raguin</c:v>
                </c:pt>
                <c:pt idx="5">
                  <c:v>Boursin</c:v>
                </c:pt>
                <c:pt idx="6">
                  <c:v>Milleret: All Others</c:v>
                </c:pt>
              </c:strCache>
            </c:strRef>
          </c:cat>
          <c:val>
            <c:numRef>
              <c:f>Sheet1!$F$2:$F$8</c:f>
              <c:numCache>
                <c:formatCode>General</c:formatCode>
                <c:ptCount val="7"/>
                <c:pt idx="0">
                  <c:v>2.0379</c:v>
                </c:pt>
                <c:pt idx="1">
                  <c:v>2.859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President</c:v>
                </c:pt>
                <c:pt idx="2">
                  <c:v>La Belle Etoile</c:v>
                </c:pt>
                <c:pt idx="3">
                  <c:v>All Others</c:v>
                </c:pt>
                <c:pt idx="4">
                  <c:v>Raguin</c:v>
                </c:pt>
                <c:pt idx="5">
                  <c:v>Boursin</c:v>
                </c:pt>
                <c:pt idx="6">
                  <c:v>Milleret: All Others</c:v>
                </c:pt>
              </c:strCache>
            </c:strRef>
          </c:cat>
          <c:val>
            <c:numRef>
              <c:f>Sheet1!$G$2:$G$8</c:f>
              <c:numCache>
                <c:formatCode>General</c:formatCode>
                <c:ptCount val="7"/>
                <c:pt idx="2">
                  <c:v>5.2218999999999998</c:v>
                </c:pt>
                <c:pt idx="4">
                  <c:v>5.1833999999999998</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President</c:v>
                </c:pt>
                <c:pt idx="2">
                  <c:v>La Belle Etoile</c:v>
                </c:pt>
                <c:pt idx="3">
                  <c:v>All Others</c:v>
                </c:pt>
                <c:pt idx="4">
                  <c:v>Raguin</c:v>
                </c:pt>
                <c:pt idx="5">
                  <c:v>Boursin</c:v>
                </c:pt>
                <c:pt idx="6">
                  <c:v>Milleret: All Others</c:v>
                </c:pt>
              </c:strCache>
            </c:strRef>
          </c:cat>
          <c:val>
            <c:numRef>
              <c:f>Sheet1!$B$2:$B$8</c:f>
              <c:numCache>
                <c:formatCode>General</c:formatCode>
                <c:ptCount val="7"/>
                <c:pt idx="0">
                  <c:v>1.2685</c:v>
                </c:pt>
                <c:pt idx="1">
                  <c:v>1.645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2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President</c:v>
                </c:pt>
                <c:pt idx="2">
                  <c:v>La Belle Etoile</c:v>
                </c:pt>
                <c:pt idx="3">
                  <c:v>All Others</c:v>
                </c:pt>
                <c:pt idx="4">
                  <c:v>Raguin</c:v>
                </c:pt>
                <c:pt idx="5">
                  <c:v>Boursin</c:v>
                </c:pt>
                <c:pt idx="6">
                  <c:v>Milleret: All Others</c:v>
                </c:pt>
              </c:strCache>
            </c:strRef>
          </c:cat>
          <c:val>
            <c:numRef>
              <c:f>Sheet1!$C$2:$C$8</c:f>
              <c:numCache>
                <c:formatCode>General</c:formatCode>
                <c:ptCount val="7"/>
                <c:pt idx="3">
                  <c:v>2.2766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President</c:v>
                </c:pt>
                <c:pt idx="2">
                  <c:v>La Belle Etoile</c:v>
                </c:pt>
                <c:pt idx="3">
                  <c:v>All Others</c:v>
                </c:pt>
                <c:pt idx="4">
                  <c:v>Raguin</c:v>
                </c:pt>
                <c:pt idx="5">
                  <c:v>Boursin</c:v>
                </c:pt>
                <c:pt idx="6">
                  <c:v>Milleret: All Others</c:v>
                </c:pt>
              </c:strCache>
            </c:strRef>
          </c:cat>
          <c:val>
            <c:numRef>
              <c:f>Sheet1!$D$2:$D$8</c:f>
              <c:numCache>
                <c:formatCode>General</c:formatCode>
                <c:ptCount val="7"/>
                <c:pt idx="5">
                  <c:v>2.7090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President</c:v>
                </c:pt>
                <c:pt idx="2">
                  <c:v>La Belle Etoile</c:v>
                </c:pt>
                <c:pt idx="3">
                  <c:v>All Others</c:v>
                </c:pt>
                <c:pt idx="4">
                  <c:v>Raguin</c:v>
                </c:pt>
                <c:pt idx="5">
                  <c:v>Boursin</c:v>
                </c:pt>
                <c:pt idx="6">
                  <c:v>Milleret: All Others</c:v>
                </c:pt>
              </c:strCache>
            </c:strRef>
          </c:cat>
          <c:val>
            <c:numRef>
              <c:f>Sheet1!$E$2:$E$8</c:f>
              <c:numCache>
                <c:formatCode>General</c:formatCode>
                <c:ptCount val="7"/>
                <c:pt idx="0">
                  <c:v>2.0596000000000001</c:v>
                </c:pt>
                <c:pt idx="4">
                  <c:v>2.7058</c:v>
                </c:pt>
                <c:pt idx="6">
                  <c:v>2.71070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34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President</c:v>
                </c:pt>
                <c:pt idx="2">
                  <c:v>La Belle Etoile</c:v>
                </c:pt>
                <c:pt idx="3">
                  <c:v>All Others</c:v>
                </c:pt>
                <c:pt idx="4">
                  <c:v>Raguin</c:v>
                </c:pt>
                <c:pt idx="5">
                  <c:v>Boursin</c:v>
                </c:pt>
                <c:pt idx="6">
                  <c:v>Milleret: All Others</c:v>
                </c:pt>
              </c:strCache>
            </c:strRef>
          </c:cat>
          <c:val>
            <c:numRef>
              <c:f>Sheet1!$F$2:$F$8</c:f>
              <c:numCache>
                <c:formatCode>General</c:formatCode>
                <c:ptCount val="7"/>
                <c:pt idx="0">
                  <c:v>2.0379</c:v>
                </c:pt>
                <c:pt idx="1">
                  <c:v>2.859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President</c:v>
                </c:pt>
                <c:pt idx="2">
                  <c:v>La Belle Etoile</c:v>
                </c:pt>
                <c:pt idx="3">
                  <c:v>All Others</c:v>
                </c:pt>
                <c:pt idx="4">
                  <c:v>Raguin</c:v>
                </c:pt>
                <c:pt idx="5">
                  <c:v>Boursin</c:v>
                </c:pt>
                <c:pt idx="6">
                  <c:v>Milleret: All Others</c:v>
                </c:pt>
              </c:strCache>
            </c:strRef>
          </c:cat>
          <c:val>
            <c:numRef>
              <c:f>Sheet1!$G$2:$G$8</c:f>
              <c:numCache>
                <c:formatCode>General</c:formatCode>
                <c:ptCount val="7"/>
                <c:pt idx="2">
                  <c:v>5.2225999999999999</c:v>
                </c:pt>
                <c:pt idx="4">
                  <c:v>5.1851000000000003</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32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Mini Babybel</c:v>
                </c:pt>
                <c:pt idx="1">
                  <c:v>La Vache Qui Rit</c:v>
                </c:pt>
                <c:pt idx="2">
                  <c:v>Kiri</c:v>
                </c:pt>
                <c:pt idx="3">
                  <c:v>Private Label</c:v>
                </c:pt>
                <c:pt idx="4">
                  <c:v>Ficello</c:v>
                </c:pt>
              </c:strCache>
            </c:strRef>
          </c:cat>
          <c:val>
            <c:numRef>
              <c:f>Sheet1!$B$2:$B$6</c:f>
              <c:numCache>
                <c:formatCode>General</c:formatCode>
                <c:ptCount val="5"/>
                <c:pt idx="0">
                  <c:v>2.45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44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C$2:$C$6</c:f>
              <c:numCache>
                <c:formatCode>General</c:formatCode>
                <c:ptCount val="5"/>
                <c:pt idx="2">
                  <c:v>2.2964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8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D$2:$D$6</c:f>
              <c:numCache>
                <c:formatCode>General</c:formatCode>
                <c:ptCount val="5"/>
                <c:pt idx="4">
                  <c:v>3.49339999999999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E$2:$E$6</c:f>
              <c:numCache>
                <c:formatCode>General</c:formatCode>
                <c:ptCount val="5"/>
                <c:pt idx="1">
                  <c:v>2.3913000000000002</c:v>
                </c:pt>
                <c:pt idx="2">
                  <c:v>2.30039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F$2:$F$6</c:f>
              <c:numCache>
                <c:formatCode>General</c:formatCode>
                <c:ptCount val="5"/>
                <c:pt idx="0">
                  <c:v>3.306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92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Mini Babybel</c:v>
                </c:pt>
                <c:pt idx="1">
                  <c:v>La Vache Qui Rit</c:v>
                </c:pt>
                <c:pt idx="2">
                  <c:v>Kiri</c:v>
                </c:pt>
                <c:pt idx="3">
                  <c:v>Private Label</c:v>
                </c:pt>
                <c:pt idx="4">
                  <c:v>Ficello</c:v>
                </c:pt>
              </c:strCache>
            </c:strRef>
          </c:cat>
          <c:val>
            <c:numRef>
              <c:f>Sheet1!$G$2:$G$6</c:f>
              <c:numCache>
                <c:formatCode>General</c:formatCode>
                <c:ptCount val="5"/>
                <c:pt idx="1">
                  <c:v>2.6150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6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Mini Babybel</c:v>
                </c:pt>
                <c:pt idx="1">
                  <c:v>La Vache Qui Rit</c:v>
                </c:pt>
                <c:pt idx="2">
                  <c:v>Kiri</c:v>
                </c:pt>
                <c:pt idx="3">
                  <c:v>Private Label</c:v>
                </c:pt>
                <c:pt idx="4">
                  <c:v>Ficello</c:v>
                </c:pt>
              </c:strCache>
            </c:strRef>
          </c:cat>
          <c:val>
            <c:numRef>
              <c:f>Sheet1!$H$2:$H$6</c:f>
              <c:numCache>
                <c:formatCode>General</c:formatCode>
                <c:ptCount val="5"/>
                <c:pt idx="2">
                  <c:v>2.8454000000000002</c:v>
                </c:pt>
                <c:pt idx="3">
                  <c:v>1.8655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2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I$2:$I$6</c:f>
              <c:numCache>
                <c:formatCode>General</c:formatCode>
                <c:ptCount val="5"/>
                <c:pt idx="0">
                  <c:v>4.278299999999999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4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Mini Babybel</c:v>
                </c:pt>
                <c:pt idx="1">
                  <c:v>La Vache Qui Rit</c:v>
                </c:pt>
                <c:pt idx="2">
                  <c:v>Kiri</c:v>
                </c:pt>
                <c:pt idx="3">
                  <c:v>Private Label</c:v>
                </c:pt>
                <c:pt idx="4">
                  <c:v>Ficello</c:v>
                </c:pt>
              </c:strCache>
            </c:strRef>
          </c:cat>
          <c:val>
            <c:numRef>
              <c:f>Sheet1!$J$2:$J$6</c:f>
              <c:numCache>
                <c:formatCode>General</c:formatCode>
                <c:ptCount val="5"/>
                <c:pt idx="3">
                  <c:v>2.017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56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K$2:$K$6</c:f>
              <c:numCache>
                <c:formatCode>General</c:formatCode>
                <c:ptCount val="5"/>
                <c:pt idx="1">
                  <c:v>2.872799999999999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64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L$2:$L$6</c:f>
              <c:numCache>
                <c:formatCode>General</c:formatCode>
                <c:ptCount val="5"/>
                <c:pt idx="0">
                  <c:v>4.219000000000000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8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Mini Babybel</c:v>
                </c:pt>
                <c:pt idx="1">
                  <c:v>La Vache Qui Rit</c:v>
                </c:pt>
                <c:pt idx="2">
                  <c:v>Kiri</c:v>
                </c:pt>
                <c:pt idx="3">
                  <c:v>Private Label</c:v>
                </c:pt>
                <c:pt idx="4">
                  <c:v>Ficello</c:v>
                </c:pt>
              </c:strCache>
            </c:strRef>
          </c:cat>
          <c:val>
            <c:numRef>
              <c:f>Sheet1!$M$2:$M$6</c:f>
              <c:numCache>
                <c:formatCode>General</c:formatCode>
                <c:ptCount val="5"/>
                <c:pt idx="1">
                  <c:v>3.6049000000000002</c:v>
                </c:pt>
                <c:pt idx="2">
                  <c:v>3.589799999999999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52GR</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N$2:$N$6</c:f>
              <c:numCache>
                <c:formatCode>General</c:formatCode>
                <c:ptCount val="5"/>
                <c:pt idx="0">
                  <c:v>5.8667999999999996</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O$2:$O$6</c:f>
              <c:numCache>
                <c:formatCode>General</c:formatCode>
                <c:ptCount val="5"/>
                <c:pt idx="1">
                  <c:v>3.7115999999999998</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P$2:$P$6</c:f>
              <c:numCache>
                <c:formatCode>General</c:formatCode>
                <c:ptCount val="5"/>
                <c:pt idx="3">
                  <c:v>2.5575000000000001</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Q$2:$Q$6</c:f>
              <c:numCache>
                <c:formatCode>General</c:formatCode>
                <c:ptCount val="5"/>
                <c:pt idx="2">
                  <c:v>4.7747999999999999</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4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R$2:$R$6</c:f>
              <c:numCache>
                <c:formatCode>General</c:formatCode>
                <c:ptCount val="5"/>
                <c:pt idx="0">
                  <c:v>7.5186000000000002</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S$2:$S$6</c:f>
              <c:numCache>
                <c:formatCode>General</c:formatCode>
                <c:ptCount val="5"/>
                <c:pt idx="1">
                  <c:v>4.4577999999999998</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T$2:$T$6</c:f>
              <c:numCache>
                <c:formatCode>General</c:formatCode>
                <c:ptCount val="5"/>
                <c:pt idx="4">
                  <c:v>2.124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8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B$2:$B$7</c:f>
              <c:numCache>
                <c:formatCode>General</c:formatCode>
                <c:ptCount val="6"/>
                <c:pt idx="0">
                  <c:v>2.0076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2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C$2:$C$7</c:f>
              <c:numCache>
                <c:formatCode>General</c:formatCode>
                <c:ptCount val="6"/>
                <c:pt idx="1">
                  <c:v>2.6032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D$2:$D$7</c:f>
              <c:numCache>
                <c:formatCode>General</c:formatCode>
                <c:ptCount val="6"/>
                <c:pt idx="3">
                  <c:v>1.2051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4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E$2:$E$7</c:f>
              <c:numCache>
                <c:formatCode>General</c:formatCode>
                <c:ptCount val="6"/>
                <c:pt idx="2">
                  <c:v>2.30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F$2:$F$7</c:f>
              <c:numCache>
                <c:formatCode>General</c:formatCode>
                <c:ptCount val="6"/>
                <c:pt idx="5">
                  <c:v>2.955299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68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G$2:$G$7</c:f>
              <c:numCache>
                <c:formatCode>General</c:formatCode>
                <c:ptCount val="6"/>
                <c:pt idx="4">
                  <c:v>3.47869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5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H$2:$H$7</c:f>
              <c:numCache>
                <c:formatCode>General</c:formatCode>
                <c:ptCount val="6"/>
                <c:pt idx="0">
                  <c:v>2.1873</c:v>
                </c:pt>
                <c:pt idx="2">
                  <c:v>2.2370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92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I$2:$I$7</c:f>
              <c:numCache>
                <c:formatCode>General</c:formatCode>
                <c:ptCount val="6"/>
                <c:pt idx="0">
                  <c:v>2.778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16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J$2:$J$7</c:f>
              <c:numCache>
                <c:formatCode>General</c:formatCode>
                <c:ptCount val="6"/>
                <c:pt idx="2">
                  <c:v>2.999699999999999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K$2:$K$7</c:f>
              <c:numCache>
                <c:formatCode>General</c:formatCode>
                <c:ptCount val="6"/>
                <c:pt idx="3">
                  <c:v>2.120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64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L$2:$L$7</c:f>
              <c:numCache>
                <c:formatCode>General</c:formatCode>
                <c:ptCount val="6"/>
                <c:pt idx="1">
                  <c:v>4.136199999999999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8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M$2:$M$7</c:f>
              <c:numCache>
                <c:formatCode>General</c:formatCode>
                <c:ptCount val="6"/>
                <c:pt idx="2">
                  <c:v>3.622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52GR</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N$2:$N$7</c:f>
              <c:numCache>
                <c:formatCode>General</c:formatCode>
                <c:ptCount val="6"/>
                <c:pt idx="1">
                  <c:v>5.8654000000000002</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O$2:$O$7</c:f>
              <c:numCache>
                <c:formatCode>General</c:formatCode>
                <c:ptCount val="6"/>
                <c:pt idx="0">
                  <c:v>3.544900000000000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P$2:$P$7</c:f>
              <c:numCache>
                <c:formatCode>General</c:formatCode>
                <c:ptCount val="6"/>
                <c:pt idx="3">
                  <c:v>2.762300000000000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Q$2:$Q$7</c:f>
              <c:numCache>
                <c:formatCode>General</c:formatCode>
                <c:ptCount val="6"/>
                <c:pt idx="2">
                  <c:v>4.3026</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4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R$2:$R$7</c:f>
              <c:numCache>
                <c:formatCode>General</c:formatCode>
                <c:ptCount val="6"/>
                <c:pt idx="1">
                  <c:v>6.9686000000000003</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S$2:$S$7</c:f>
              <c:numCache>
                <c:formatCode>General</c:formatCode>
                <c:ptCount val="6"/>
                <c:pt idx="0">
                  <c:v>4.2591000000000001</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533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T$2:$T$7</c:f>
              <c:numCache>
                <c:formatCode>General</c:formatCode>
                <c:ptCount val="6"/>
                <c:pt idx="3">
                  <c:v>3.5525000000000002</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U$2:$U$7</c:f>
              <c:numCache>
                <c:formatCode>General</c:formatCode>
                <c:ptCount val="6"/>
                <c:pt idx="4">
                  <c:v>2.2492000000000001</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32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B$2:$B$7</c:f>
              <c:numCache>
                <c:formatCode>General</c:formatCode>
                <c:ptCount val="6"/>
                <c:pt idx="1">
                  <c:v>2.3502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44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C$2:$C$7</c:f>
              <c:numCache>
                <c:formatCode>General</c:formatCode>
                <c:ptCount val="6"/>
                <c:pt idx="2">
                  <c:v>2.2570999999999999</c:v>
                </c:pt>
                <c:pt idx="3">
                  <c:v>1.864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8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D$2:$D$7</c:f>
              <c:numCache>
                <c:formatCode>General</c:formatCode>
                <c:ptCount val="6"/>
                <c:pt idx="4">
                  <c:v>3.5316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E$2:$E$7</c:f>
              <c:numCache>
                <c:formatCode>General</c:formatCode>
                <c:ptCount val="6"/>
                <c:pt idx="0">
                  <c:v>2.5316999999999998</c:v>
                </c:pt>
                <c:pt idx="2">
                  <c:v>2.36339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F$2:$F$7</c:f>
              <c:numCache>
                <c:formatCode>General</c:formatCode>
                <c:ptCount val="6"/>
                <c:pt idx="1">
                  <c:v>4.10890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92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G$2:$G$7</c:f>
              <c:numCache>
                <c:formatCode>General</c:formatCode>
                <c:ptCount val="6"/>
                <c:pt idx="0">
                  <c:v>2.50369999999999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H$2:$H$7</c:f>
              <c:numCache>
                <c:formatCode>General</c:formatCode>
                <c:ptCount val="6"/>
                <c:pt idx="3">
                  <c:v>1.7083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16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I$2:$I$7</c:f>
              <c:numCache>
                <c:formatCode>General</c:formatCode>
                <c:ptCount val="6"/>
                <c:pt idx="2">
                  <c:v>2.8744000000000001</c:v>
                </c:pt>
                <c:pt idx="3">
                  <c:v>1.868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4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J$2:$J$7</c:f>
              <c:numCache>
                <c:formatCode>General</c:formatCode>
                <c:ptCount val="6"/>
                <c:pt idx="5">
                  <c:v>3.653900000000000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64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K$2:$K$7</c:f>
              <c:numCache>
                <c:formatCode>General</c:formatCode>
                <c:ptCount val="6"/>
                <c:pt idx="1">
                  <c:v>4.360100000000000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67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L$2:$L$7</c:f>
              <c:numCache>
                <c:formatCode>General</c:formatCode>
                <c:ptCount val="6"/>
                <c:pt idx="0">
                  <c:v>3.291599999999999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8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M$2:$M$7</c:f>
              <c:numCache>
                <c:formatCode>General</c:formatCode>
                <c:ptCount val="6"/>
                <c:pt idx="0">
                  <c:v>3.9445000000000001</c:v>
                </c:pt>
                <c:pt idx="2">
                  <c:v>3.6638000000000002</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84GR</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N$2:$N$7</c:f>
              <c:numCache>
                <c:formatCode>General</c:formatCode>
                <c:ptCount val="6"/>
                <c:pt idx="0">
                  <c:v>4.000099999999999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O$2:$O$7</c:f>
              <c:numCache>
                <c:formatCode>General</c:formatCode>
                <c:ptCount val="6"/>
                <c:pt idx="3">
                  <c:v>2.6778</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P$2:$P$7</c:f>
              <c:numCache>
                <c:formatCode>General</c:formatCode>
                <c:ptCount val="6"/>
                <c:pt idx="2">
                  <c:v>4.983799999999999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Q$2:$Q$7</c:f>
              <c:numCache>
                <c:formatCode>General</c:formatCode>
                <c:ptCount val="6"/>
                <c:pt idx="0">
                  <c:v>4.9005000000000001</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R$2:$R$7</c:f>
              <c:numCache>
                <c:formatCode>General</c:formatCode>
                <c:ptCount val="6"/>
                <c:pt idx="4">
                  <c:v>2.155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B$2:$B$9</c:f>
              <c:numCache>
                <c:formatCode>General</c:formatCode>
                <c:ptCount val="8"/>
                <c:pt idx="7">
                  <c:v>1.63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C$2:$C$9</c:f>
              <c:numCache>
                <c:formatCode>General</c:formatCode>
                <c:ptCount val="8"/>
                <c:pt idx="0">
                  <c:v>2.3248000000000002</c:v>
                </c:pt>
                <c:pt idx="1">
                  <c:v>1.2050000000000001</c:v>
                </c:pt>
                <c:pt idx="2">
                  <c:v>1.8984000000000001</c:v>
                </c:pt>
                <c:pt idx="3">
                  <c:v>2.0310000000000001</c:v>
                </c:pt>
                <c:pt idx="4">
                  <c:v>2.2145999999999999</c:v>
                </c:pt>
                <c:pt idx="6">
                  <c:v>2.0575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D$2:$D$9</c:f>
              <c:numCache>
                <c:formatCode>General</c:formatCode>
                <c:ptCount val="8"/>
                <c:pt idx="3">
                  <c:v>2.0274000000000001</c:v>
                </c:pt>
                <c:pt idx="4">
                  <c:v>2.4866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E$2:$E$9</c:f>
              <c:numCache>
                <c:formatCode>General</c:formatCode>
                <c:ptCount val="8"/>
                <c:pt idx="0">
                  <c:v>2.2820999999999998</c:v>
                </c:pt>
                <c:pt idx="2">
                  <c:v>2.12970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F$2:$F$9</c:f>
              <c:numCache>
                <c:formatCode>General</c:formatCode>
                <c:ptCount val="8"/>
                <c:pt idx="5">
                  <c:v>2.411099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G$2:$G$9</c:f>
              <c:numCache>
                <c:formatCode>General</c:formatCode>
                <c:ptCount val="8"/>
                <c:pt idx="1">
                  <c:v>2.1366000000000001</c:v>
                </c:pt>
                <c:pt idx="3">
                  <c:v>2.7221000000000002</c:v>
                </c:pt>
                <c:pt idx="4">
                  <c:v>3.3595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75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H$2:$H$9</c:f>
              <c:numCache>
                <c:formatCode>General</c:formatCode>
                <c:ptCount val="8"/>
                <c:pt idx="2">
                  <c:v>3.0510000000000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I$2:$I$9</c:f>
              <c:numCache>
                <c:formatCode>General</c:formatCode>
                <c:ptCount val="8"/>
                <c:pt idx="0">
                  <c:v>3.4746000000000001</c:v>
                </c:pt>
                <c:pt idx="1">
                  <c:v>1.8822000000000001</c:v>
                </c:pt>
                <c:pt idx="6">
                  <c:v>3.210999999999999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2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J$2:$J$9</c:f>
              <c:numCache>
                <c:formatCode>General</c:formatCode>
                <c:ptCount val="8"/>
                <c:pt idx="2">
                  <c:v>3.309200000000000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K$2:$K$9</c:f>
              <c:numCache>
                <c:formatCode>General</c:formatCode>
                <c:ptCount val="8"/>
                <c:pt idx="0">
                  <c:v>4.535599999999999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6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L$2:$L$9</c:f>
              <c:numCache>
                <c:formatCode>General</c:formatCode>
                <c:ptCount val="8"/>
                <c:pt idx="2">
                  <c:v>4.574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0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M$2:$M$9</c:f>
              <c:numCache>
                <c:formatCode>General</c:formatCode>
                <c:ptCount val="8"/>
                <c:pt idx="0">
                  <c:v>5.2640000000000002</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B$2:$B$9</c:f>
              <c:numCache>
                <c:formatCode>General</c:formatCode>
                <c:ptCount val="8"/>
                <c:pt idx="7">
                  <c:v>1.7345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C$2:$C$9</c:f>
              <c:numCache>
                <c:formatCode>General</c:formatCode>
                <c:ptCount val="8"/>
                <c:pt idx="0">
                  <c:v>2.4662000000000002</c:v>
                </c:pt>
                <c:pt idx="1">
                  <c:v>1.9454</c:v>
                </c:pt>
                <c:pt idx="2">
                  <c:v>1.4278</c:v>
                </c:pt>
                <c:pt idx="3">
                  <c:v>2.1442000000000001</c:v>
                </c:pt>
                <c:pt idx="4">
                  <c:v>2.3616000000000001</c:v>
                </c:pt>
                <c:pt idx="6">
                  <c:v>2.2008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D$2:$D$9</c:f>
              <c:numCache>
                <c:formatCode>General</c:formatCode>
                <c:ptCount val="8"/>
                <c:pt idx="3">
                  <c:v>2.1482999999999999</c:v>
                </c:pt>
                <c:pt idx="4">
                  <c:v>2.59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E$2:$E$9</c:f>
              <c:numCache>
                <c:formatCode>General</c:formatCode>
                <c:ptCount val="8"/>
                <c:pt idx="0">
                  <c:v>2.4904999999999999</c:v>
                </c:pt>
                <c:pt idx="1">
                  <c:v>2.19039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F$2:$F$9</c:f>
              <c:numCache>
                <c:formatCode>General</c:formatCode>
                <c:ptCount val="8"/>
                <c:pt idx="5">
                  <c:v>2.41869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5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G$2:$G$9</c:f>
              <c:numCache>
                <c:formatCode>General</c:formatCode>
                <c:ptCount val="8"/>
                <c:pt idx="0">
                  <c:v>3.21839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H$2:$H$9</c:f>
              <c:numCache>
                <c:formatCode>General</c:formatCode>
                <c:ptCount val="8"/>
                <c:pt idx="2">
                  <c:v>2.1453000000000002</c:v>
                </c:pt>
                <c:pt idx="3">
                  <c:v>2.7766999999999999</c:v>
                </c:pt>
                <c:pt idx="4">
                  <c:v>3.423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I$2:$I$9</c:f>
              <c:numCache>
                <c:formatCode>General</c:formatCode>
                <c:ptCount val="8"/>
                <c:pt idx="0">
                  <c:v>3.5642</c:v>
                </c:pt>
                <c:pt idx="2">
                  <c:v>1.986</c:v>
                </c:pt>
                <c:pt idx="6">
                  <c:v>3.027600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2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J$2:$J$9</c:f>
              <c:numCache>
                <c:formatCode>General</c:formatCode>
                <c:ptCount val="8"/>
                <c:pt idx="1">
                  <c:v>3.176099999999999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K$2:$K$9</c:f>
              <c:numCache>
                <c:formatCode>General</c:formatCode>
                <c:ptCount val="8"/>
                <c:pt idx="0">
                  <c:v>4.589000000000000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6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L$2:$L$9</c:f>
              <c:numCache>
                <c:formatCode>General</c:formatCode>
                <c:ptCount val="8"/>
                <c:pt idx="1">
                  <c:v>4.4885000000000002</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0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M$2:$M$9</c:f>
              <c:numCache>
                <c:formatCode>General</c:formatCode>
                <c:ptCount val="8"/>
                <c:pt idx="0">
                  <c:v>4.9659000000000004</c:v>
                </c:pt>
                <c:pt idx="6">
                  <c:v>5.067199999999999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6GR</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N$2:$N$9</c:f>
              <c:numCache>
                <c:formatCode>General</c:formatCode>
                <c:ptCount val="8"/>
                <c:pt idx="3">
                  <c:v>2.0813999999999999</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B$2:$B$8</c:f>
              <c:numCache>
                <c:formatCode>General</c:formatCode>
                <c:ptCount val="7"/>
                <c:pt idx="3">
                  <c:v>2.4085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C$2:$C$8</c:f>
              <c:numCache>
                <c:formatCode>General</c:formatCode>
                <c:ptCount val="7"/>
                <c:pt idx="0">
                  <c:v>2.3075999999999999</c:v>
                </c:pt>
                <c:pt idx="1">
                  <c:v>1.2365999999999999</c:v>
                </c:pt>
                <c:pt idx="2">
                  <c:v>1.8753</c:v>
                </c:pt>
                <c:pt idx="3">
                  <c:v>2.3128000000000002</c:v>
                </c:pt>
                <c:pt idx="4">
                  <c:v>2.1031</c:v>
                </c:pt>
                <c:pt idx="6">
                  <c:v>1.860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D$2:$D$8</c:f>
              <c:numCache>
                <c:formatCode>General</c:formatCode>
                <c:ptCount val="7"/>
                <c:pt idx="3">
                  <c:v>2.5045999999999999</c:v>
                </c:pt>
                <c:pt idx="4">
                  <c:v>2.0388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E$2:$E$8</c:f>
              <c:numCache>
                <c:formatCode>General</c:formatCode>
                <c:ptCount val="7"/>
                <c:pt idx="0">
                  <c:v>2.2938000000000001</c:v>
                </c:pt>
                <c:pt idx="2">
                  <c:v>2.086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F$2:$F$8</c:f>
              <c:numCache>
                <c:formatCode>General</c:formatCode>
                <c:ptCount val="7"/>
                <c:pt idx="5">
                  <c:v>2.4405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G$2:$G$8</c:f>
              <c:numCache>
                <c:formatCode>General</c:formatCode>
                <c:ptCount val="7"/>
                <c:pt idx="1">
                  <c:v>2.1135000000000002</c:v>
                </c:pt>
                <c:pt idx="3">
                  <c:v>3.4291999999999998</c:v>
                </c:pt>
                <c:pt idx="4">
                  <c:v>2.824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75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H$2:$H$8</c:f>
              <c:numCache>
                <c:formatCode>General</c:formatCode>
                <c:ptCount val="7"/>
                <c:pt idx="2">
                  <c:v>3.079400000000000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I$2:$I$8</c:f>
              <c:numCache>
                <c:formatCode>General</c:formatCode>
                <c:ptCount val="7"/>
                <c:pt idx="0">
                  <c:v>3.6204000000000001</c:v>
                </c:pt>
                <c:pt idx="1">
                  <c:v>1.8689</c:v>
                </c:pt>
                <c:pt idx="6">
                  <c:v>3.316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2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J$2:$J$8</c:f>
              <c:numCache>
                <c:formatCode>General</c:formatCode>
                <c:ptCount val="7"/>
                <c:pt idx="2">
                  <c:v>3.363799999999999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K$2:$K$8</c:f>
              <c:numCache>
                <c:formatCode>General</c:formatCode>
                <c:ptCount val="7"/>
                <c:pt idx="0">
                  <c:v>4.493699999999999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6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L$2:$L$8</c:f>
              <c:numCache>
                <c:formatCode>General</c:formatCode>
                <c:ptCount val="7"/>
                <c:pt idx="2">
                  <c:v>4.6205999999999996</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B$2:$B$8</c:f>
              <c:numCache>
                <c:formatCode>General</c:formatCode>
                <c:ptCount val="7"/>
                <c:pt idx="0">
                  <c:v>2.4811000000000001</c:v>
                </c:pt>
                <c:pt idx="2">
                  <c:v>2.3740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C$2:$C$8</c:f>
              <c:numCache>
                <c:formatCode>General</c:formatCode>
                <c:ptCount val="7"/>
                <c:pt idx="0">
                  <c:v>2.1637</c:v>
                </c:pt>
                <c:pt idx="2">
                  <c:v>2.6143000000000001</c:v>
                </c:pt>
                <c:pt idx="6">
                  <c:v>2.25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D$2:$D$8</c:f>
              <c:numCache>
                <c:formatCode>General</c:formatCode>
                <c:ptCount val="7"/>
                <c:pt idx="0">
                  <c:v>1.3552999999999999</c:v>
                </c:pt>
                <c:pt idx="1">
                  <c:v>1.6195999999999999</c:v>
                </c:pt>
                <c:pt idx="2">
                  <c:v>2.6173999999999999</c:v>
                </c:pt>
                <c:pt idx="3">
                  <c:v>1.87349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E$2:$E$8</c:f>
              <c:numCache>
                <c:formatCode>General</c:formatCode>
                <c:ptCount val="7"/>
                <c:pt idx="0">
                  <c:v>2.1158000000000001</c:v>
                </c:pt>
                <c:pt idx="1">
                  <c:v>3.0081000000000002</c:v>
                </c:pt>
                <c:pt idx="3">
                  <c:v>2.6448</c:v>
                </c:pt>
                <c:pt idx="4">
                  <c:v>2.7412000000000001</c:v>
                </c:pt>
                <c:pt idx="5">
                  <c:v>2.73039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F$2:$F$8</c:f>
              <c:numCache>
                <c:formatCode>General</c:formatCode>
                <c:ptCount val="7"/>
                <c:pt idx="0">
                  <c:v>2.9548999999999999</c:v>
                </c:pt>
                <c:pt idx="2">
                  <c:v>3.8279999999999998</c:v>
                </c:pt>
                <c:pt idx="3">
                  <c:v>4.5377000000000001</c:v>
                </c:pt>
                <c:pt idx="4">
                  <c:v>2.78679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G$2:$G$8</c:f>
              <c:numCache>
                <c:formatCode>General</c:formatCode>
                <c:ptCount val="7"/>
                <c:pt idx="0">
                  <c:v>2.1955</c:v>
                </c:pt>
                <c:pt idx="1">
                  <c:v>2.6629999999999998</c:v>
                </c:pt>
                <c:pt idx="2">
                  <c:v>4.582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H$2:$H$8</c:f>
              <c:numCache>
                <c:formatCode>General</c:formatCode>
                <c:ptCount val="7"/>
                <c:pt idx="4">
                  <c:v>3.278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I$2:$I$8</c:f>
              <c:numCache>
                <c:formatCode>General</c:formatCode>
                <c:ptCount val="7"/>
                <c:pt idx="0">
                  <c:v>2.7784</c:v>
                </c:pt>
                <c:pt idx="1">
                  <c:v>3.606100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J$2:$J$8</c:f>
              <c:numCache>
                <c:formatCode>General</c:formatCode>
                <c:ptCount val="7"/>
                <c:pt idx="0">
                  <c:v>2.9847999999999999</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B$2:$B$8</c:f>
              <c:numCache>
                <c:formatCode>General</c:formatCode>
                <c:ptCount val="7"/>
                <c:pt idx="0">
                  <c:v>1.93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C$2:$C$8</c:f>
              <c:numCache>
                <c:formatCode>General</c:formatCode>
                <c:ptCount val="7"/>
                <c:pt idx="0">
                  <c:v>2.2292999999999998</c:v>
                </c:pt>
                <c:pt idx="1">
                  <c:v>2.5726</c:v>
                </c:pt>
                <c:pt idx="6">
                  <c:v>2.1617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D$2:$D$8</c:f>
              <c:numCache>
                <c:formatCode>General</c:formatCode>
                <c:ptCount val="7"/>
                <c:pt idx="0">
                  <c:v>1.4641999999999999</c:v>
                </c:pt>
                <c:pt idx="1">
                  <c:v>2.5653999999999999</c:v>
                </c:pt>
                <c:pt idx="2">
                  <c:v>1.716</c:v>
                </c:pt>
                <c:pt idx="3">
                  <c:v>2.0792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E$2:$E$8</c:f>
              <c:numCache>
                <c:formatCode>General</c:formatCode>
                <c:ptCount val="7"/>
                <c:pt idx="0">
                  <c:v>2.278</c:v>
                </c:pt>
                <c:pt idx="1">
                  <c:v>2.6852</c:v>
                </c:pt>
                <c:pt idx="2">
                  <c:v>2.7343000000000002</c:v>
                </c:pt>
                <c:pt idx="3">
                  <c:v>2.6842000000000001</c:v>
                </c:pt>
                <c:pt idx="4">
                  <c:v>2.8532999999999999</c:v>
                </c:pt>
                <c:pt idx="5">
                  <c:v>2.673700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F$2:$F$8</c:f>
              <c:numCache>
                <c:formatCode>General</c:formatCode>
                <c:ptCount val="7"/>
                <c:pt idx="0">
                  <c:v>2.9940000000000002</c:v>
                </c:pt>
                <c:pt idx="1">
                  <c:v>3.9521999999999999</c:v>
                </c:pt>
                <c:pt idx="3">
                  <c:v>4.3448000000000002</c:v>
                </c:pt>
                <c:pt idx="4">
                  <c:v>2.842699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G$2:$G$8</c:f>
              <c:numCache>
                <c:formatCode>General</c:formatCode>
                <c:ptCount val="7"/>
                <c:pt idx="0">
                  <c:v>2.2443</c:v>
                </c:pt>
                <c:pt idx="1">
                  <c:v>4.6402999999999999</c:v>
                </c:pt>
                <c:pt idx="2">
                  <c:v>2.80839999999999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H$2:$H$8</c:f>
              <c:numCache>
                <c:formatCode>General</c:formatCode>
                <c:ptCount val="7"/>
                <c:pt idx="3">
                  <c:v>5.0865</c:v>
                </c:pt>
                <c:pt idx="4">
                  <c:v>3.3010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I$2:$I$8</c:f>
              <c:numCache>
                <c:formatCode>General</c:formatCode>
                <c:ptCount val="7"/>
                <c:pt idx="0">
                  <c:v>2.7262</c:v>
                </c:pt>
                <c:pt idx="2">
                  <c:v>3.854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J$2:$J$8</c:f>
              <c:numCache>
                <c:formatCode>General</c:formatCode>
                <c:ptCount val="7"/>
                <c:pt idx="0">
                  <c:v>3.0329999999999999</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C15DA3A-A843-481C-A40C-49B0CC6AA3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95E5178-F024-4429-927F-78C5FBF676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A018B94-F0B3-440A-BD06-8BCA4BF6F0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D93A46E-D531-44C8-8B21-564E18D98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D2F1A3-8C3E-460B-92A5-DB02E89432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6605B83-3C20-4183-9295-73B9E65DE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80E4075-56EE-4A7A-8A98-8CA577695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A841743-9B9F-4F97-82C1-DC74F539C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0327000000000002</c:v>
                </c:pt>
                <c:pt idx="1">
                  <c:v>2.2883</c:v>
                </c:pt>
                <c:pt idx="2">
                  <c:v>2.3494999999999999</c:v>
                </c:pt>
                <c:pt idx="3">
                  <c:v>2.9119999999999999</c:v>
                </c:pt>
                <c:pt idx="4">
                  <c:v>2.7605</c:v>
                </c:pt>
                <c:pt idx="5">
                  <c:v>3.2795000000000001</c:v>
                </c:pt>
                <c:pt idx="6">
                  <c:v>2.4449999999999998</c:v>
                </c:pt>
                <c:pt idx="7">
                  <c:v>2.4899</c:v>
                </c:pt>
                <c:pt idx="8">
                  <c:v>3.5445000000000002</c:v>
                </c:pt>
              </c:numCache>
            </c:numRef>
          </c:xVal>
          <c:yVal>
            <c:numRef>
              <c:f>Sheet1!$B$2:$B$10</c:f>
              <c:numCache>
                <c:formatCode>General</c:formatCode>
                <c:ptCount val="9"/>
                <c:pt idx="0">
                  <c:v>0.85599999999999998</c:v>
                </c:pt>
                <c:pt idx="1">
                  <c:v>0.79900000000000004</c:v>
                </c:pt>
                <c:pt idx="2">
                  <c:v>1.1379999999999999</c:v>
                </c:pt>
                <c:pt idx="3">
                  <c:v>1.0940000000000001</c:v>
                </c:pt>
                <c:pt idx="4">
                  <c:v>1.0580000000000001</c:v>
                </c:pt>
                <c:pt idx="5">
                  <c:v>1.161</c:v>
                </c:pt>
                <c:pt idx="6">
                  <c:v>1.2949999999999999</c:v>
                </c:pt>
                <c:pt idx="7">
                  <c:v>0.71799999999999997</c:v>
                </c:pt>
                <c:pt idx="8">
                  <c:v>1.488</c:v>
                </c:pt>
              </c:numCache>
            </c:numRef>
          </c:yVal>
          <c:bubbleSize>
            <c:numRef>
              <c:f>Sheet1!$C$2:$C$10</c:f>
              <c:numCache>
                <c:formatCode>General</c:formatCode>
                <c:ptCount val="9"/>
                <c:pt idx="0">
                  <c:v>519196378</c:v>
                </c:pt>
                <c:pt idx="1">
                  <c:v>58759599</c:v>
                </c:pt>
                <c:pt idx="2">
                  <c:v>58401688</c:v>
                </c:pt>
                <c:pt idx="3">
                  <c:v>51751764</c:v>
                </c:pt>
                <c:pt idx="4">
                  <c:v>48675142</c:v>
                </c:pt>
                <c:pt idx="5">
                  <c:v>47071227</c:v>
                </c:pt>
                <c:pt idx="6">
                  <c:v>40044170</c:v>
                </c:pt>
                <c:pt idx="7">
                  <c:v>38256036</c:v>
                </c:pt>
                <c:pt idx="8">
                  <c:v>3616245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Galbani</c:v>
                  </c:pt>
                  <c:pt idx="3">
                    <c:v>St Moret</c:v>
                  </c:pt>
                  <c:pt idx="4">
                    <c:v>Soignon</c:v>
                  </c:pt>
                  <c:pt idx="5">
                    <c:v>Caprice Des Dieux</c:v>
                  </c:pt>
                  <c:pt idx="6">
                    <c:v>Casa Azzurra</c:v>
                  </c:pt>
                  <c:pt idx="7">
                    <c:v>Coeur De Lion</c:v>
                  </c:pt>
                  <c:pt idx="8">
                    <c:v>Mini Baby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8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B$2:$B$8</c:f>
              <c:numCache>
                <c:formatCode>General</c:formatCode>
                <c:ptCount val="7"/>
                <c:pt idx="0">
                  <c:v>2.86350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C$2:$C$8</c:f>
              <c:numCache>
                <c:formatCode>General</c:formatCode>
                <c:ptCount val="7"/>
                <c:pt idx="0">
                  <c:v>1.8541000000000001</c:v>
                </c:pt>
                <c:pt idx="6">
                  <c:v>2.41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D$2:$D$8</c:f>
              <c:numCache>
                <c:formatCode>General</c:formatCode>
                <c:ptCount val="7"/>
                <c:pt idx="0">
                  <c:v>1.3976999999999999</c:v>
                </c:pt>
                <c:pt idx="1">
                  <c:v>1.6447000000000001</c:v>
                </c:pt>
                <c:pt idx="3">
                  <c:v>1.8250999999999999</c:v>
                </c:pt>
                <c:pt idx="4">
                  <c:v>2.79599999999999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E$2:$E$8</c:f>
              <c:numCache>
                <c:formatCode>General</c:formatCode>
                <c:ptCount val="7"/>
                <c:pt idx="0">
                  <c:v>2.1240000000000001</c:v>
                </c:pt>
                <c:pt idx="1">
                  <c:v>3.1242999999999999</c:v>
                </c:pt>
                <c:pt idx="2">
                  <c:v>2.8243999999999998</c:v>
                </c:pt>
                <c:pt idx="5">
                  <c:v>2.91250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F$2:$F$8</c:f>
              <c:numCache>
                <c:formatCode>General</c:formatCode>
                <c:ptCount val="7"/>
                <c:pt idx="0">
                  <c:v>3.2107999999999999</c:v>
                </c:pt>
                <c:pt idx="2">
                  <c:v>2.737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G$2:$G$8</c:f>
              <c:numCache>
                <c:formatCode>General</c:formatCode>
                <c:ptCount val="7"/>
                <c:pt idx="0">
                  <c:v>1.7622</c:v>
                </c:pt>
                <c:pt idx="1">
                  <c:v>2.7461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H$2:$H$8</c:f>
              <c:numCache>
                <c:formatCode>General</c:formatCode>
                <c:ptCount val="7"/>
                <c:pt idx="0">
                  <c:v>2.1448</c:v>
                </c:pt>
                <c:pt idx="2">
                  <c:v>3.3100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I$2:$I$8</c:f>
              <c:numCache>
                <c:formatCode>General</c:formatCode>
                <c:ptCount val="7"/>
                <c:pt idx="1">
                  <c:v>3.55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Salakis</c:v>
                </c:pt>
                <c:pt idx="3">
                  <c:v>Casa Azzurra</c:v>
                </c:pt>
                <c:pt idx="4">
                  <c:v>All Others</c:v>
                </c:pt>
                <c:pt idx="5">
                  <c:v>Islos</c:v>
                </c:pt>
                <c:pt idx="6">
                  <c:v>Boursin</c:v>
                </c:pt>
              </c:strCache>
            </c:strRef>
          </c:cat>
          <c:val>
            <c:numRef>
              <c:f>Sheet1!$J$2:$J$8</c:f>
              <c:numCache>
                <c:formatCode>General</c:formatCode>
                <c:ptCount val="7"/>
                <c:pt idx="0">
                  <c:v>2.9794</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D5C7B4E-DE17-4ACC-AD44-8B8659B61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5CC0B4F-CD83-4193-A54E-CCF69206EB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CFE1F95-F1B8-43F5-A363-9614853C38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4B8807-099A-4DA7-8DEE-372F377B47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7750F6E-3B9F-47C3-B5CB-55553B4535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82F6E0-C3FC-42EC-B773-0A6FB0A32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BFC1E3B-A50A-4088-BB38-D902DA934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0C4D72D-03C0-48C4-B934-11DC1BA70B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1953999999999998</c:v>
                </c:pt>
                <c:pt idx="1">
                  <c:v>2.4110999999999998</c:v>
                </c:pt>
                <c:pt idx="2">
                  <c:v>3.0028999999999999</c:v>
                </c:pt>
                <c:pt idx="3">
                  <c:v>2.3096999999999999</c:v>
                </c:pt>
                <c:pt idx="4">
                  <c:v>2.8786</c:v>
                </c:pt>
                <c:pt idx="5">
                  <c:v>3.3563000000000001</c:v>
                </c:pt>
                <c:pt idx="6">
                  <c:v>2.6053999999999999</c:v>
                </c:pt>
                <c:pt idx="7">
                  <c:v>2.4415</c:v>
                </c:pt>
                <c:pt idx="8">
                  <c:v>3.2258</c:v>
                </c:pt>
              </c:numCache>
            </c:numRef>
          </c:xVal>
          <c:yVal>
            <c:numRef>
              <c:f>Sheet1!$B$2:$B$10</c:f>
              <c:numCache>
                <c:formatCode>General</c:formatCode>
                <c:ptCount val="9"/>
                <c:pt idx="0">
                  <c:v>0.88300000000000001</c:v>
                </c:pt>
                <c:pt idx="1">
                  <c:v>0.76100000000000001</c:v>
                </c:pt>
                <c:pt idx="2">
                  <c:v>1.079</c:v>
                </c:pt>
                <c:pt idx="3">
                  <c:v>1.073</c:v>
                </c:pt>
                <c:pt idx="4">
                  <c:v>1.0229999999999999</c:v>
                </c:pt>
                <c:pt idx="5">
                  <c:v>1.1419999999999999</c:v>
                </c:pt>
                <c:pt idx="6">
                  <c:v>1.3149999999999999</c:v>
                </c:pt>
                <c:pt idx="7">
                  <c:v>0.66900000000000004</c:v>
                </c:pt>
                <c:pt idx="8">
                  <c:v>0.82099999999999995</c:v>
                </c:pt>
              </c:numCache>
            </c:numRef>
          </c:yVal>
          <c:bubbleSize>
            <c:numRef>
              <c:f>Sheet1!$C$2:$C$10</c:f>
              <c:numCache>
                <c:formatCode>General</c:formatCode>
                <c:ptCount val="9"/>
                <c:pt idx="0">
                  <c:v>77897599</c:v>
                </c:pt>
                <c:pt idx="1">
                  <c:v>9302551</c:v>
                </c:pt>
                <c:pt idx="2">
                  <c:v>8811592</c:v>
                </c:pt>
                <c:pt idx="3">
                  <c:v>8667367</c:v>
                </c:pt>
                <c:pt idx="4">
                  <c:v>8594536</c:v>
                </c:pt>
                <c:pt idx="5">
                  <c:v>8328333</c:v>
                </c:pt>
                <c:pt idx="6">
                  <c:v>7504143</c:v>
                </c:pt>
                <c:pt idx="7">
                  <c:v>6782881</c:v>
                </c:pt>
                <c:pt idx="8">
                  <c:v>6741136</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t Moret</c:v>
                  </c:pt>
                  <c:pt idx="3">
                    <c:v>Galbani</c:v>
                  </c:pt>
                  <c:pt idx="4">
                    <c:v>Soignon</c:v>
                  </c:pt>
                  <c:pt idx="5">
                    <c:v>Caprice Des Dieux</c:v>
                  </c:pt>
                  <c:pt idx="6">
                    <c:v>Casa Azzurra</c:v>
                  </c:pt>
                  <c:pt idx="7">
                    <c:v>Coeur De Lion</c:v>
                  </c:pt>
                  <c:pt idx="8">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79E830-E1C9-4BF0-AFE0-3742F1991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18D56CD-A6FF-494A-B48D-08BED8A6A7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A43A107-E9DE-43BC-B39E-B4F5FBA44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241925-06AF-4A01-971E-FBEA2466D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284B6F9-41C6-4D35-B05F-E039F0065B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19BA67F-2A1F-47CF-9EAB-A63652282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881FAF3-C5F4-4850-A2A7-F23EFA6CF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08FE54B-853D-4DA2-A2FD-67716B1DDE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0131000000000001</c:v>
                </c:pt>
                <c:pt idx="1">
                  <c:v>2.4689000000000001</c:v>
                </c:pt>
                <c:pt idx="2">
                  <c:v>2.3700999999999999</c:v>
                </c:pt>
                <c:pt idx="3">
                  <c:v>2.9885999999999999</c:v>
                </c:pt>
                <c:pt idx="4">
                  <c:v>2.7917999999999998</c:v>
                </c:pt>
                <c:pt idx="5">
                  <c:v>3.3898000000000001</c:v>
                </c:pt>
                <c:pt idx="6">
                  <c:v>2.5394000000000001</c:v>
                </c:pt>
                <c:pt idx="7">
                  <c:v>3.4443000000000001</c:v>
                </c:pt>
                <c:pt idx="8">
                  <c:v>2.9990000000000001</c:v>
                </c:pt>
              </c:numCache>
            </c:numRef>
          </c:xVal>
          <c:yVal>
            <c:numRef>
              <c:f>Sheet1!$B$2:$B$10</c:f>
              <c:numCache>
                <c:formatCode>General</c:formatCode>
                <c:ptCount val="9"/>
                <c:pt idx="0">
                  <c:v>0.84699999999999998</c:v>
                </c:pt>
                <c:pt idx="1">
                  <c:v>1.17</c:v>
                </c:pt>
                <c:pt idx="2">
                  <c:v>0.81799999999999995</c:v>
                </c:pt>
                <c:pt idx="3">
                  <c:v>1.0940000000000001</c:v>
                </c:pt>
                <c:pt idx="4">
                  <c:v>1.0469999999999999</c:v>
                </c:pt>
                <c:pt idx="5">
                  <c:v>1.1910000000000001</c:v>
                </c:pt>
                <c:pt idx="6">
                  <c:v>0.749</c:v>
                </c:pt>
                <c:pt idx="7">
                  <c:v>0.97399999999999998</c:v>
                </c:pt>
                <c:pt idx="8">
                  <c:v>1.1339999999999999</c:v>
                </c:pt>
              </c:numCache>
            </c:numRef>
          </c:yVal>
          <c:bubbleSize>
            <c:numRef>
              <c:f>Sheet1!$C$2:$C$10</c:f>
              <c:numCache>
                <c:formatCode>General</c:formatCode>
                <c:ptCount val="9"/>
                <c:pt idx="0">
                  <c:v>58897416</c:v>
                </c:pt>
                <c:pt idx="1">
                  <c:v>11602323</c:v>
                </c:pt>
                <c:pt idx="2">
                  <c:v>9875140</c:v>
                </c:pt>
                <c:pt idx="3">
                  <c:v>8620814</c:v>
                </c:pt>
                <c:pt idx="4">
                  <c:v>8261704</c:v>
                </c:pt>
                <c:pt idx="5">
                  <c:v>7436715</c:v>
                </c:pt>
                <c:pt idx="6">
                  <c:v>6495624</c:v>
                </c:pt>
                <c:pt idx="7">
                  <c:v>5658598</c:v>
                </c:pt>
                <c:pt idx="8">
                  <c:v>5268160</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President</c:v>
                  </c:pt>
                  <c:pt idx="3">
                    <c:v>St Moret</c:v>
                  </c:pt>
                  <c:pt idx="4">
                    <c:v>Soignon</c:v>
                  </c:pt>
                  <c:pt idx="5">
                    <c:v>Caprice Des Dieux</c:v>
                  </c:pt>
                  <c:pt idx="6">
                    <c:v>Coeur De Lion</c:v>
                  </c:pt>
                  <c:pt idx="7">
                    <c:v>La Vache Qui Rit</c:v>
                  </c:pt>
                  <c:pt idx="8">
                    <c:v>Salak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DA5EBCC-19BB-400A-A206-713CBF705C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70E65C3-72AA-4511-A448-2D73588AFB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18136AE-6BFD-4F13-81F9-86BABD4EB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C1E1351-DE12-4702-9B41-426528AE4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FA50164-3375-4645-AE67-390DA4ACBE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3D00B0C-63AB-4DA8-81DD-242C118AC3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1F2CD88-E21C-4127-BD72-88A1C3100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D5BC5A2-07C6-43F2-925D-985CE4C6B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7187000000000001</c:v>
                </c:pt>
                <c:pt idx="1">
                  <c:v>2.0144000000000002</c:v>
                </c:pt>
                <c:pt idx="2">
                  <c:v>3.5047999999999999</c:v>
                </c:pt>
                <c:pt idx="3">
                  <c:v>2.8439999999999999</c:v>
                </c:pt>
                <c:pt idx="4">
                  <c:v>2.6423000000000001</c:v>
                </c:pt>
              </c:numCache>
            </c:numRef>
          </c:xVal>
          <c:yVal>
            <c:numRef>
              <c:f>Sheet1!$B$2:$B$6</c:f>
              <c:numCache>
                <c:formatCode>General</c:formatCode>
                <c:ptCount val="5"/>
                <c:pt idx="0">
                  <c:v>0.872</c:v>
                </c:pt>
                <c:pt idx="1">
                  <c:v>1.014</c:v>
                </c:pt>
                <c:pt idx="2">
                  <c:v>1.7649999999999999</c:v>
                </c:pt>
                <c:pt idx="3">
                  <c:v>1.306</c:v>
                </c:pt>
                <c:pt idx="4">
                  <c:v>1.331</c:v>
                </c:pt>
              </c:numCache>
            </c:numRef>
          </c:yVal>
          <c:bubbleSize>
            <c:numRef>
              <c:f>Sheet1!$C$2:$C$6</c:f>
              <c:numCache>
                <c:formatCode>General</c:formatCode>
                <c:ptCount val="5"/>
                <c:pt idx="0">
                  <c:v>32111482</c:v>
                </c:pt>
                <c:pt idx="1">
                  <c:v>8926552</c:v>
                </c:pt>
                <c:pt idx="2">
                  <c:v>4826639</c:v>
                </c:pt>
                <c:pt idx="3">
                  <c:v>3695927</c:v>
                </c:pt>
                <c:pt idx="4">
                  <c:v>2844424</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D5E388-346E-458A-B256-4B036DBD21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5B8D725-7FB8-45A9-9793-5F46D1904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1710279-FB87-4567-9633-A6242DAAC6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C7C0D78-8D9D-41DD-BA69-AAB6D202F7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ABA3C84-E973-4646-B3DA-4E3B187C41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E4C4E29-D0EE-4139-8C0B-EDEBA0F07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D11E2E2-24A8-40B3-9221-2B679B9646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DD60F82-970F-4E3D-8FFA-8223EEB53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3.8580999999999999</c:v>
                </c:pt>
                <c:pt idx="1">
                  <c:v>2.1343000000000001</c:v>
                </c:pt>
                <c:pt idx="2">
                  <c:v>3.4523000000000001</c:v>
                </c:pt>
                <c:pt idx="3">
                  <c:v>3.1278999999999999</c:v>
                </c:pt>
                <c:pt idx="4">
                  <c:v>2.6861999999999999</c:v>
                </c:pt>
                <c:pt idx="5">
                  <c:v>5.2592999999999996</c:v>
                </c:pt>
                <c:pt idx="6">
                  <c:v>1.8669</c:v>
                </c:pt>
              </c:numCache>
            </c:numRef>
          </c:xVal>
          <c:yVal>
            <c:numRef>
              <c:f>Sheet1!$B$2:$B$8</c:f>
              <c:numCache>
                <c:formatCode>General</c:formatCode>
                <c:ptCount val="7"/>
                <c:pt idx="0">
                  <c:v>0.871</c:v>
                </c:pt>
                <c:pt idx="1">
                  <c:v>1.0189999999999999</c:v>
                </c:pt>
                <c:pt idx="2">
                  <c:v>1.6479999999999999</c:v>
                </c:pt>
                <c:pt idx="3">
                  <c:v>1.492</c:v>
                </c:pt>
                <c:pt idx="4">
                  <c:v>1.2849999999999999</c:v>
                </c:pt>
                <c:pt idx="5">
                  <c:v>1.585</c:v>
                </c:pt>
                <c:pt idx="6">
                  <c:v>1.9950000000000001</c:v>
                </c:pt>
              </c:numCache>
            </c:numRef>
          </c:yVal>
          <c:bubbleSize>
            <c:numRef>
              <c:f>Sheet1!$C$2:$C$8</c:f>
              <c:numCache>
                <c:formatCode>General</c:formatCode>
                <c:ptCount val="7"/>
                <c:pt idx="0">
                  <c:v>6113168</c:v>
                </c:pt>
                <c:pt idx="1">
                  <c:v>1692864</c:v>
                </c:pt>
                <c:pt idx="2">
                  <c:v>1030688</c:v>
                </c:pt>
                <c:pt idx="3">
                  <c:v>505315</c:v>
                </c:pt>
                <c:pt idx="4">
                  <c:v>349471</c:v>
                </c:pt>
                <c:pt idx="5">
                  <c:v>128289</c:v>
                </c:pt>
                <c:pt idx="6">
                  <c:v>121788</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pt idx="6">
                    <c:v>Leerdamm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95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6B82EB-8519-408B-8FEC-6BBA63603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CCF6EE-FFF6-44F6-AB25-105906B14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3659220-7DEF-4C89-B91D-816A96E0E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6CA31AB-54D6-4CF0-BA70-ED6C1EE534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4BB193-7D7D-4347-BC4E-0AF5ABF1D5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5E0B02F-2F4F-4BD9-B362-A64872B313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6C41E1F-CCEF-42E0-9980-EF3948BE3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1FAB33C-B299-48A2-BF3C-4519DA1C4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9350000000000001</c:v>
                </c:pt>
                <c:pt idx="1">
                  <c:v>2.1753</c:v>
                </c:pt>
                <c:pt idx="2">
                  <c:v>3.5583</c:v>
                </c:pt>
                <c:pt idx="3">
                  <c:v>2.6888000000000001</c:v>
                </c:pt>
                <c:pt idx="4">
                  <c:v>2.6114000000000002</c:v>
                </c:pt>
              </c:numCache>
            </c:numRef>
          </c:xVal>
          <c:yVal>
            <c:numRef>
              <c:f>Sheet1!$B$2:$B$6</c:f>
              <c:numCache>
                <c:formatCode>General</c:formatCode>
                <c:ptCount val="5"/>
                <c:pt idx="0">
                  <c:v>0.88</c:v>
                </c:pt>
                <c:pt idx="1">
                  <c:v>1.0760000000000001</c:v>
                </c:pt>
                <c:pt idx="2">
                  <c:v>1.7609999999999999</c:v>
                </c:pt>
                <c:pt idx="3">
                  <c:v>1.331</c:v>
                </c:pt>
                <c:pt idx="4">
                  <c:v>0.97599999999999998</c:v>
                </c:pt>
              </c:numCache>
            </c:numRef>
          </c:yVal>
          <c:bubbleSize>
            <c:numRef>
              <c:f>Sheet1!$C$2:$C$6</c:f>
              <c:numCache>
                <c:formatCode>General</c:formatCode>
                <c:ptCount val="5"/>
                <c:pt idx="0">
                  <c:v>5772129</c:v>
                </c:pt>
                <c:pt idx="1">
                  <c:v>1439845</c:v>
                </c:pt>
                <c:pt idx="2">
                  <c:v>1178065</c:v>
                </c:pt>
                <c:pt idx="3">
                  <c:v>808897</c:v>
                </c:pt>
                <c:pt idx="4">
                  <c:v>736159</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St Moret</c:v>
                  </c:pt>
                  <c:pt idx="4">
                    <c:v>Private La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9/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1.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3.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24.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25.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26.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2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28.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29.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0.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1.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34.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35.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36.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3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38.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39.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0.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379509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6304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85772"/>
            <a:ext cx="4869366" cy="7176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21841"/>
            <a:ext cx="4869366" cy="145373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713971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Ingredient A Chaud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27604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100422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25782"/>
            <a:ext cx="4869366" cy="6717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543619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Ingredient A Chaud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74355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101115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32657"/>
            <a:ext cx="4869366" cy="66952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689241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655942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902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9461"/>
            <a:ext cx="4869366" cy="8787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3131"/>
            <a:ext cx="4869366" cy="5808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8910"/>
            <a:ext cx="4869366" cy="117666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068490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351238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7848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97773"/>
            <a:ext cx="4869366" cy="8826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95360"/>
            <a:ext cx="4869366" cy="58343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3752"/>
            <a:ext cx="4869366" cy="118182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560226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523463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1264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32298"/>
            <a:ext cx="4869366" cy="9042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51832"/>
            <a:ext cx="4869366" cy="5976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4855"/>
            <a:ext cx="4869366" cy="12107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233537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701524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1479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38759"/>
            <a:ext cx="4869366" cy="76584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24243"/>
            <a:ext cx="4869366" cy="155133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790523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27856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92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2701"/>
            <a:ext cx="4869366" cy="7448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6693"/>
            <a:ext cx="4869366" cy="150888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108541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354541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4657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1114"/>
            <a:ext cx="4869366" cy="7880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79336"/>
            <a:ext cx="4869366" cy="159623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402762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772564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6831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91008"/>
            <a:ext cx="4869366" cy="71595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47109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809872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07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5535"/>
            <a:ext cx="4869366" cy="7963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658231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20777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775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22702"/>
            <a:ext cx="4869366" cy="8038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47197"/>
            <a:ext cx="4869366" cy="162837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626838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657823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64881"/>
            <a:ext cx="4869366" cy="9923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74052"/>
            <a:ext cx="4869366" cy="6559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77839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8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agu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598193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O'Tapas Ape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489427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4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Ragu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444668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2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137642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3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3640659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055520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NATION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516243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Carrefour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80145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Intermarche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506028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295239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0767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32540"/>
            <a:ext cx="4869366" cy="8006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53728"/>
            <a:ext cx="4869366" cy="16218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588254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757658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804356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352997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058416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908951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9020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882704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707343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029231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499770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41261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878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10421"/>
            <a:ext cx="4869366" cy="7095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38204"/>
            <a:ext cx="4869366" cy="143737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3037729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5212412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066855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52895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871759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425792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4013942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865741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317913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85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63178"/>
            <a:ext cx="4869366" cy="79061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74068"/>
            <a:ext cx="4869366" cy="160150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126983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50104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48127"/>
            <a:ext cx="4869366" cy="86109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531303"/>
            <a:ext cx="4869366" cy="174427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858394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4330788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77851"/>
            <a:ext cx="4869366" cy="92215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5636"/>
            <a:ext cx="4869366" cy="6095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468151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520408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5268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71007"/>
            <a:ext cx="4869366" cy="8255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10527"/>
            <a:ext cx="4869366" cy="5456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891604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178822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72144"/>
            <a:ext cx="4869366" cy="9240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1842"/>
            <a:ext cx="4869366" cy="6108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2701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0726F4B-CCCE-4FD7-AEEC-E1B68F2D26F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TotalTime>
  <Words>4109</Words>
  <Application>Microsoft Office PowerPoint</Application>
  <PresentationFormat>On-screen Show (16:9)</PresentationFormat>
  <Paragraphs>1080</Paragraphs>
  <Slides>46</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6</vt:i4>
      </vt:variant>
    </vt:vector>
  </HeadingPairs>
  <TitlesOfParts>
    <vt:vector size="56"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6</cp:revision>
  <dcterms:created xsi:type="dcterms:W3CDTF">2024-07-05T14:56:51Z</dcterms:created>
  <dcterms:modified xsi:type="dcterms:W3CDTF">2025-09-09T10:10: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